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4"/>
    <p:sldMasterId id="2147483761" r:id="rId5"/>
    <p:sldMasterId id="2147483786" r:id="rId6"/>
    <p:sldMasterId id="2147483804" r:id="rId7"/>
  </p:sldMasterIdLst>
  <p:notesMasterIdLst>
    <p:notesMasterId r:id="rId20"/>
  </p:notesMasterIdLst>
  <p:handoutMasterIdLst>
    <p:handoutMasterId r:id="rId21"/>
  </p:handoutMasterIdLst>
  <p:sldIdLst>
    <p:sldId id="383" r:id="rId8"/>
    <p:sldId id="296" r:id="rId9"/>
    <p:sldId id="2147376734" r:id="rId10"/>
    <p:sldId id="2147479522" r:id="rId11"/>
    <p:sldId id="2147479521" r:id="rId12"/>
    <p:sldId id="2147479520" r:id="rId13"/>
    <p:sldId id="2147479511" r:id="rId14"/>
    <p:sldId id="2147479512" r:id="rId15"/>
    <p:sldId id="2147479513" r:id="rId16"/>
    <p:sldId id="2147479514" r:id="rId17"/>
    <p:sldId id="2147479508" r:id="rId18"/>
    <p:sldId id="408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623FDAC-1B01-6F6E-93A7-3AFAD0854FF1}" name="Brady, Donald" initials="BD" userId="S::bradydo@coned.com::c7af73fc-d274-45b8-8ecb-b0124f1b2517" providerId="AD"/>
  <p188:author id="{E4DD2ED7-65EB-23F8-075A-652099822124}" name="Milgrom, Chyelle" initials="" userId="S::milgromc@coned.com::a8cd77ce-2ed3-4170-92a8-161a500c991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101010"/>
    <a:srgbClr val="BFBFBF"/>
    <a:srgbClr val="E6E6E6"/>
    <a:srgbClr val="D93927"/>
    <a:srgbClr val="751032"/>
    <a:srgbClr val="454545"/>
    <a:srgbClr val="424242"/>
    <a:srgbClr val="DDDDD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F61A5-2F9E-4D4F-BFBE-16368D2CB4D3}" v="691" dt="2026-01-15T18:50:40.358"/>
    <p1510:client id="{26FD43C3-041A-A2C0-D973-2867E49D0CB7}" v="30" dt="2026-01-15T17:50:46.523"/>
    <p1510:client id="{93D194FB-B64A-D838-19C8-E4F2F6557EAD}" v="35" dt="2026-01-15T18:30:06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ufer, Jeffrey A." userId="S::lauferj@coned.com::b09bba2a-d724-433f-9932-9fde9a8a3439" providerId="AD" clId="Web-{26FD43C3-041A-A2C0-D973-2867E49D0CB7}"/>
    <pc:docChg chg="modSld">
      <pc:chgData name="Laufer, Jeffrey A." userId="S::lauferj@coned.com::b09bba2a-d724-433f-9932-9fde9a8a3439" providerId="AD" clId="Web-{26FD43C3-041A-A2C0-D973-2867E49D0CB7}" dt="2026-01-15T17:50:46.523" v="25" actId="1076"/>
      <pc:docMkLst>
        <pc:docMk/>
      </pc:docMkLst>
      <pc:sldChg chg="addSp modSp">
        <pc:chgData name="Laufer, Jeffrey A." userId="S::lauferj@coned.com::b09bba2a-d724-433f-9932-9fde9a8a3439" providerId="AD" clId="Web-{26FD43C3-041A-A2C0-D973-2867E49D0CB7}" dt="2026-01-15T17:50:46.523" v="25" actId="1076"/>
        <pc:sldMkLst>
          <pc:docMk/>
          <pc:sldMk cId="3105713688" sldId="2147479511"/>
        </pc:sldMkLst>
        <pc:spChg chg="add mod">
          <ac:chgData name="Laufer, Jeffrey A." userId="S::lauferj@coned.com::b09bba2a-d724-433f-9932-9fde9a8a3439" providerId="AD" clId="Web-{26FD43C3-041A-A2C0-D973-2867E49D0CB7}" dt="2026-01-15T17:50:46.523" v="25" actId="1076"/>
          <ac:spMkLst>
            <pc:docMk/>
            <pc:sldMk cId="3105713688" sldId="2147479511"/>
            <ac:spMk id="2" creationId="{1E128E28-174D-BD41-52A9-436833EF0AA9}"/>
          </ac:spMkLst>
        </pc:spChg>
      </pc:sldChg>
      <pc:sldChg chg="modSp">
        <pc:chgData name="Laufer, Jeffrey A." userId="S::lauferj@coned.com::b09bba2a-d724-433f-9932-9fde9a8a3439" providerId="AD" clId="Web-{26FD43C3-041A-A2C0-D973-2867E49D0CB7}" dt="2026-01-15T17:49:02.664" v="12" actId="20577"/>
        <pc:sldMkLst>
          <pc:docMk/>
          <pc:sldMk cId="1827582488" sldId="2147479517"/>
        </pc:sldMkLst>
        <pc:spChg chg="mod">
          <ac:chgData name="Laufer, Jeffrey A." userId="S::lauferj@coned.com::b09bba2a-d724-433f-9932-9fde9a8a3439" providerId="AD" clId="Web-{26FD43C3-041A-A2C0-D973-2867E49D0CB7}" dt="2026-01-15T17:49:02.664" v="12" actId="20577"/>
          <ac:spMkLst>
            <pc:docMk/>
            <pc:sldMk cId="1827582488" sldId="2147479517"/>
            <ac:spMk id="2" creationId="{EF204C8A-6FEE-76BE-2601-0864E50C85DE}"/>
          </ac:spMkLst>
        </pc:spChg>
      </pc:sldChg>
    </pc:docChg>
  </pc:docChgLst>
  <pc:docChgLst>
    <pc:chgData name="Diaz, Franchesca" userId="b482a818-ed91-4bb2-82b0-a1932f6d49e6" providerId="ADAL" clId="{1F6911A4-3DBD-440F-920A-66E12609657C}"/>
    <pc:docChg chg="undo custSel addSld delSld modSld">
      <pc:chgData name="Diaz, Franchesca" userId="b482a818-ed91-4bb2-82b0-a1932f6d49e6" providerId="ADAL" clId="{1F6911A4-3DBD-440F-920A-66E12609657C}" dt="2026-01-15T18:50:40.365" v="687" actId="2696"/>
      <pc:docMkLst>
        <pc:docMk/>
      </pc:docMkLst>
      <pc:sldChg chg="modSp mod">
        <pc:chgData name="Diaz, Franchesca" userId="b482a818-ed91-4bb2-82b0-a1932f6d49e6" providerId="ADAL" clId="{1F6911A4-3DBD-440F-920A-66E12609657C}" dt="2026-01-15T17:59:45.053" v="367" actId="20577"/>
        <pc:sldMkLst>
          <pc:docMk/>
          <pc:sldMk cId="752467965" sldId="2147376734"/>
        </pc:sldMkLst>
        <pc:spChg chg="mod">
          <ac:chgData name="Diaz, Franchesca" userId="b482a818-ed91-4bb2-82b0-a1932f6d49e6" providerId="ADAL" clId="{1F6911A4-3DBD-440F-920A-66E12609657C}" dt="2026-01-15T17:59:45.053" v="367" actId="20577"/>
          <ac:spMkLst>
            <pc:docMk/>
            <pc:sldMk cId="752467965" sldId="2147376734"/>
            <ac:spMk id="3" creationId="{0BF154E3-3848-D654-C764-FFCB6D699108}"/>
          </ac:spMkLst>
        </pc:spChg>
      </pc:sldChg>
      <pc:sldChg chg="modSp mod">
        <pc:chgData name="Diaz, Franchesca" userId="b482a818-ed91-4bb2-82b0-a1932f6d49e6" providerId="ADAL" clId="{1F6911A4-3DBD-440F-920A-66E12609657C}" dt="2026-01-15T18:48:28.588" v="686" actId="20577"/>
        <pc:sldMkLst>
          <pc:docMk/>
          <pc:sldMk cId="262898084" sldId="2147479508"/>
        </pc:sldMkLst>
        <pc:spChg chg="mod">
          <ac:chgData name="Diaz, Franchesca" userId="b482a818-ed91-4bb2-82b0-a1932f6d49e6" providerId="ADAL" clId="{1F6911A4-3DBD-440F-920A-66E12609657C}" dt="2026-01-15T18:48:28.588" v="686" actId="20577"/>
          <ac:spMkLst>
            <pc:docMk/>
            <pc:sldMk cId="262898084" sldId="2147479508"/>
            <ac:spMk id="3" creationId="{80B1E95A-4D2E-86FD-BB58-28EB7EC6845B}"/>
          </ac:spMkLst>
        </pc:spChg>
      </pc:sldChg>
      <pc:sldChg chg="del">
        <pc:chgData name="Diaz, Franchesca" userId="b482a818-ed91-4bb2-82b0-a1932f6d49e6" providerId="ADAL" clId="{1F6911A4-3DBD-440F-920A-66E12609657C}" dt="2026-01-15T18:08:57.447" v="425" actId="2696"/>
        <pc:sldMkLst>
          <pc:docMk/>
          <pc:sldMk cId="3557223422" sldId="2147479509"/>
        </pc:sldMkLst>
      </pc:sldChg>
      <pc:sldChg chg="del">
        <pc:chgData name="Diaz, Franchesca" userId="b482a818-ed91-4bb2-82b0-a1932f6d49e6" providerId="ADAL" clId="{1F6911A4-3DBD-440F-920A-66E12609657C}" dt="2026-01-15T18:15:06.098" v="430" actId="2696"/>
        <pc:sldMkLst>
          <pc:docMk/>
          <pc:sldMk cId="374122158" sldId="2147479510"/>
        </pc:sldMkLst>
      </pc:sldChg>
      <pc:sldChg chg="addSp delSp modSp add del mod modClrScheme chgLayout">
        <pc:chgData name="Diaz, Franchesca" userId="b482a818-ed91-4bb2-82b0-a1932f6d49e6" providerId="ADAL" clId="{1F6911A4-3DBD-440F-920A-66E12609657C}" dt="2026-01-15T18:28:28.897" v="445" actId="1076"/>
        <pc:sldMkLst>
          <pc:docMk/>
          <pc:sldMk cId="3105713688" sldId="2147479511"/>
        </pc:sldMkLst>
        <pc:spChg chg="mod ord">
          <ac:chgData name="Diaz, Franchesca" userId="b482a818-ed91-4bb2-82b0-a1932f6d49e6" providerId="ADAL" clId="{1F6911A4-3DBD-440F-920A-66E12609657C}" dt="2026-01-15T18:28:28.897" v="445" actId="1076"/>
          <ac:spMkLst>
            <pc:docMk/>
            <pc:sldMk cId="3105713688" sldId="2147479511"/>
            <ac:spMk id="2" creationId="{1E128E28-174D-BD41-52A9-436833EF0AA9}"/>
          </ac:spMkLst>
        </pc:spChg>
        <pc:spChg chg="mod ord">
          <ac:chgData name="Diaz, Franchesca" userId="b482a818-ed91-4bb2-82b0-a1932f6d49e6" providerId="ADAL" clId="{1F6911A4-3DBD-440F-920A-66E12609657C}" dt="2026-01-15T18:27:09.561" v="439" actId="26606"/>
          <ac:spMkLst>
            <pc:docMk/>
            <pc:sldMk cId="3105713688" sldId="2147479511"/>
            <ac:spMk id="8" creationId="{4B8BD0C2-E3F0-2D7E-117E-741EB241E318}"/>
          </ac:spMkLst>
        </pc:spChg>
        <pc:spChg chg="add del mod">
          <ac:chgData name="Diaz, Franchesca" userId="b482a818-ed91-4bb2-82b0-a1932f6d49e6" providerId="ADAL" clId="{1F6911A4-3DBD-440F-920A-66E12609657C}" dt="2026-01-15T18:27:08.762" v="437" actId="26606"/>
          <ac:spMkLst>
            <pc:docMk/>
            <pc:sldMk cId="3105713688" sldId="2147479511"/>
            <ac:spMk id="13" creationId="{DFB360D8-28C7-AFD9-D369-85011199582F}"/>
          </ac:spMkLst>
        </pc:spChg>
        <pc:spChg chg="add del mod">
          <ac:chgData name="Diaz, Franchesca" userId="b482a818-ed91-4bb2-82b0-a1932f6d49e6" providerId="ADAL" clId="{1F6911A4-3DBD-440F-920A-66E12609657C}" dt="2026-01-15T18:27:08.762" v="437" actId="26606"/>
          <ac:spMkLst>
            <pc:docMk/>
            <pc:sldMk cId="3105713688" sldId="2147479511"/>
            <ac:spMk id="15" creationId="{5ACCFA3B-9F02-CD8B-A467-DD7D4331A585}"/>
          </ac:spMkLst>
        </pc:spChg>
        <pc:spChg chg="add del mod">
          <ac:chgData name="Diaz, Franchesca" userId="b482a818-ed91-4bb2-82b0-a1932f6d49e6" providerId="ADAL" clId="{1F6911A4-3DBD-440F-920A-66E12609657C}" dt="2026-01-15T18:27:09.561" v="439" actId="26606"/>
          <ac:spMkLst>
            <pc:docMk/>
            <pc:sldMk cId="3105713688" sldId="2147479511"/>
            <ac:spMk id="17" creationId="{56DB3636-57FE-1DD7-063B-124746B345D5}"/>
          </ac:spMkLst>
        </pc:spChg>
        <pc:spChg chg="add del mod">
          <ac:chgData name="Diaz, Franchesca" userId="b482a818-ed91-4bb2-82b0-a1932f6d49e6" providerId="ADAL" clId="{1F6911A4-3DBD-440F-920A-66E12609657C}" dt="2026-01-15T18:27:09.561" v="439" actId="26606"/>
          <ac:spMkLst>
            <pc:docMk/>
            <pc:sldMk cId="3105713688" sldId="2147479511"/>
            <ac:spMk id="18" creationId="{D0BAC599-6D7C-6E1A-2327-8A337E01F6DA}"/>
          </ac:spMkLst>
        </pc:spChg>
        <pc:spChg chg="add del">
          <ac:chgData name="Diaz, Franchesca" userId="b482a818-ed91-4bb2-82b0-a1932f6d49e6" providerId="ADAL" clId="{1F6911A4-3DBD-440F-920A-66E12609657C}" dt="2026-01-15T18:27:12.704" v="441" actId="26606"/>
          <ac:spMkLst>
            <pc:docMk/>
            <pc:sldMk cId="3105713688" sldId="2147479511"/>
            <ac:spMk id="20" creationId="{7F9647FC-9034-BA1D-0BEA-868738049B98}"/>
          </ac:spMkLst>
        </pc:spChg>
        <pc:picChg chg="mod">
          <ac:chgData name="Diaz, Franchesca" userId="b482a818-ed91-4bb2-82b0-a1932f6d49e6" providerId="ADAL" clId="{1F6911A4-3DBD-440F-920A-66E12609657C}" dt="2026-01-15T18:27:12.704" v="441" actId="26606"/>
          <ac:picMkLst>
            <pc:docMk/>
            <pc:sldMk cId="3105713688" sldId="2147479511"/>
            <ac:picMk id="4" creationId="{3D6283A8-4861-A4AE-5123-4BFDA3B08900}"/>
          </ac:picMkLst>
        </pc:picChg>
      </pc:sldChg>
      <pc:sldChg chg="del">
        <pc:chgData name="Diaz, Franchesca" userId="b482a818-ed91-4bb2-82b0-a1932f6d49e6" providerId="ADAL" clId="{1F6911A4-3DBD-440F-920A-66E12609657C}" dt="2026-01-15T18:14:43.435" v="428" actId="2696"/>
        <pc:sldMkLst>
          <pc:docMk/>
          <pc:sldMk cId="2296341132" sldId="2147479515"/>
        </pc:sldMkLst>
      </pc:sldChg>
      <pc:sldChg chg="del">
        <pc:chgData name="Diaz, Franchesca" userId="b482a818-ed91-4bb2-82b0-a1932f6d49e6" providerId="ADAL" clId="{1F6911A4-3DBD-440F-920A-66E12609657C}" dt="2026-01-15T18:14:57.041" v="429" actId="2696"/>
        <pc:sldMkLst>
          <pc:docMk/>
          <pc:sldMk cId="4009907234" sldId="2147479516"/>
        </pc:sldMkLst>
      </pc:sldChg>
      <pc:sldChg chg="del">
        <pc:chgData name="Diaz, Franchesca" userId="b482a818-ed91-4bb2-82b0-a1932f6d49e6" providerId="ADAL" clId="{1F6911A4-3DBD-440F-920A-66E12609657C}" dt="2026-01-15T18:50:40.365" v="687" actId="2696"/>
        <pc:sldMkLst>
          <pc:docMk/>
          <pc:sldMk cId="1827582488" sldId="2147479517"/>
        </pc:sldMkLst>
      </pc:sldChg>
      <pc:sldChg chg="addSp delSp modSp mod modClrScheme chgLayout">
        <pc:chgData name="Diaz, Franchesca" userId="b482a818-ed91-4bb2-82b0-a1932f6d49e6" providerId="ADAL" clId="{1F6911A4-3DBD-440F-920A-66E12609657C}" dt="2026-01-15T18:46:35.710" v="684"/>
        <pc:sldMkLst>
          <pc:docMk/>
          <pc:sldMk cId="296690849" sldId="2147479520"/>
        </pc:sldMkLst>
        <pc:spChg chg="mod">
          <ac:chgData name="Diaz, Franchesca" userId="b482a818-ed91-4bb2-82b0-a1932f6d49e6" providerId="ADAL" clId="{1F6911A4-3DBD-440F-920A-66E12609657C}" dt="2026-01-15T18:30:17.259" v="454" actId="26606"/>
          <ac:spMkLst>
            <pc:docMk/>
            <pc:sldMk cId="296690849" sldId="2147479520"/>
            <ac:spMk id="2" creationId="{140848E2-3BEE-F36C-AE7A-53AF86F7A9CD}"/>
          </ac:spMkLst>
        </pc:spChg>
        <pc:spChg chg="add del mod">
          <ac:chgData name="Diaz, Franchesca" userId="b482a818-ed91-4bb2-82b0-a1932f6d49e6" providerId="ADAL" clId="{1F6911A4-3DBD-440F-920A-66E12609657C}" dt="2026-01-15T18:26:12.653" v="435" actId="26606"/>
          <ac:spMkLst>
            <pc:docMk/>
            <pc:sldMk cId="296690849" sldId="2147479520"/>
            <ac:spMk id="3" creationId="{880B2D58-1212-9878-3EBC-7428183828B6}"/>
          </ac:spMkLst>
        </pc:spChg>
        <pc:spChg chg="mod">
          <ac:chgData name="Diaz, Franchesca" userId="b482a818-ed91-4bb2-82b0-a1932f6d49e6" providerId="ADAL" clId="{1F6911A4-3DBD-440F-920A-66E12609657C}" dt="2026-01-15T18:30:17.259" v="454" actId="26606"/>
          <ac:spMkLst>
            <pc:docMk/>
            <pc:sldMk cId="296690849" sldId="2147479520"/>
            <ac:spMk id="8" creationId="{B2B680E2-6333-2A1B-9F2A-D8191702E582}"/>
          </ac:spMkLst>
        </pc:spChg>
        <pc:spChg chg="add del mod">
          <ac:chgData name="Diaz, Franchesca" userId="b482a818-ed91-4bb2-82b0-a1932f6d49e6" providerId="ADAL" clId="{1F6911A4-3DBD-440F-920A-66E12609657C}" dt="2026-01-15T18:26:12.605" v="434" actId="26606"/>
          <ac:spMkLst>
            <pc:docMk/>
            <pc:sldMk cId="296690849" sldId="2147479520"/>
            <ac:spMk id="14" creationId="{B4CCAD4A-C029-6A83-68B3-9F41C82E07B7}"/>
          </ac:spMkLst>
        </pc:spChg>
        <pc:spChg chg="add del mod">
          <ac:chgData name="Diaz, Franchesca" userId="b482a818-ed91-4bb2-82b0-a1932f6d49e6" providerId="ADAL" clId="{1F6911A4-3DBD-440F-920A-66E12609657C}" dt="2026-01-15T18:29:45.298" v="449" actId="478"/>
          <ac:spMkLst>
            <pc:docMk/>
            <pc:sldMk cId="296690849" sldId="2147479520"/>
            <ac:spMk id="21" creationId="{21BE51C8-8417-2A16-9B0E-5054624A7775}"/>
          </ac:spMkLst>
        </pc:spChg>
        <pc:graphicFrameChg chg="add del">
          <ac:chgData name="Diaz, Franchesca" userId="b482a818-ed91-4bb2-82b0-a1932f6d49e6" providerId="ADAL" clId="{1F6911A4-3DBD-440F-920A-66E12609657C}" dt="2026-01-15T18:25:59.289" v="432" actId="26606"/>
          <ac:graphicFrameMkLst>
            <pc:docMk/>
            <pc:sldMk cId="296690849" sldId="2147479520"/>
            <ac:graphicFrameMk id="10" creationId="{C4D0223B-6239-D9F7-1BEA-F5579D4D3079}"/>
          </ac:graphicFrameMkLst>
        </pc:graphicFrameChg>
        <pc:graphicFrameChg chg="add del mod">
          <ac:chgData name="Diaz, Franchesca" userId="b482a818-ed91-4bb2-82b0-a1932f6d49e6" providerId="ADAL" clId="{1F6911A4-3DBD-440F-920A-66E12609657C}" dt="2026-01-15T18:26:12.605" v="434" actId="26606"/>
          <ac:graphicFrameMkLst>
            <pc:docMk/>
            <pc:sldMk cId="296690849" sldId="2147479520"/>
            <ac:graphicFrameMk id="12" creationId="{981C0101-3369-2818-A335-1DD9446B6F28}"/>
          </ac:graphicFrameMkLst>
        </pc:graphicFrameChg>
        <pc:graphicFrameChg chg="add mod modGraphic">
          <ac:chgData name="Diaz, Franchesca" userId="b482a818-ed91-4bb2-82b0-a1932f6d49e6" providerId="ADAL" clId="{1F6911A4-3DBD-440F-920A-66E12609657C}" dt="2026-01-15T18:46:35.710" v="684"/>
          <ac:graphicFrameMkLst>
            <pc:docMk/>
            <pc:sldMk cId="296690849" sldId="2147479520"/>
            <ac:graphicFrameMk id="16" creationId="{C4D0223B-6239-D9F7-1BEA-F5579D4D3079}"/>
          </ac:graphicFrameMkLst>
        </pc:graphicFrameChg>
      </pc:sldChg>
      <pc:sldChg chg="modSp mod">
        <pc:chgData name="Diaz, Franchesca" userId="b482a818-ed91-4bb2-82b0-a1932f6d49e6" providerId="ADAL" clId="{1F6911A4-3DBD-440F-920A-66E12609657C}" dt="2026-01-15T18:47:06.106" v="685" actId="207"/>
        <pc:sldMkLst>
          <pc:docMk/>
          <pc:sldMk cId="3424001382" sldId="2147479521"/>
        </pc:sldMkLst>
        <pc:picChg chg="mod">
          <ac:chgData name="Diaz, Franchesca" userId="b482a818-ed91-4bb2-82b0-a1932f6d49e6" providerId="ADAL" clId="{1F6911A4-3DBD-440F-920A-66E12609657C}" dt="2026-01-15T18:47:06.106" v="685" actId="207"/>
          <ac:picMkLst>
            <pc:docMk/>
            <pc:sldMk cId="3424001382" sldId="2147479521"/>
            <ac:picMk id="12" creationId="{25C684CC-0B0D-F6B1-8BD6-6BE8B046F832}"/>
          </ac:picMkLst>
        </pc:picChg>
      </pc:sldChg>
      <pc:sldMasterChg chg="delSldLayout">
        <pc:chgData name="Diaz, Franchesca" userId="b482a818-ed91-4bb2-82b0-a1932f6d49e6" providerId="ADAL" clId="{1F6911A4-3DBD-440F-920A-66E12609657C}" dt="2026-01-15T18:50:40.365" v="687" actId="2696"/>
        <pc:sldMasterMkLst>
          <pc:docMk/>
          <pc:sldMasterMk cId="43558041" sldId="2147483804"/>
        </pc:sldMasterMkLst>
        <pc:sldLayoutChg chg="del">
          <pc:chgData name="Diaz, Franchesca" userId="b482a818-ed91-4bb2-82b0-a1932f6d49e6" providerId="ADAL" clId="{1F6911A4-3DBD-440F-920A-66E12609657C}" dt="2026-01-15T18:50:40.365" v="687" actId="2696"/>
          <pc:sldLayoutMkLst>
            <pc:docMk/>
            <pc:sldMasterMk cId="43558041" sldId="2147483804"/>
            <pc:sldLayoutMk cId="8738953" sldId="2147483817"/>
          </pc:sldLayoutMkLst>
        </pc:sldLayoutChg>
      </pc:sldMasterChg>
    </pc:docChg>
  </pc:docChgLst>
  <pc:docChgLst>
    <pc:chgData name="Laufer, Jeffrey A." userId="S::lauferj@coned.com::b09bba2a-d724-433f-9932-9fde9a8a3439" providerId="AD" clId="Web-{93D194FB-B64A-D838-19C8-E4F2F6557EAD}"/>
    <pc:docChg chg="modSld">
      <pc:chgData name="Laufer, Jeffrey A." userId="S::lauferj@coned.com::b09bba2a-d724-433f-9932-9fde9a8a3439" providerId="AD" clId="Web-{93D194FB-B64A-D838-19C8-E4F2F6557EAD}" dt="2026-01-15T18:30:06.105" v="16" actId="20577"/>
      <pc:docMkLst>
        <pc:docMk/>
      </pc:docMkLst>
      <pc:sldChg chg="modSp">
        <pc:chgData name="Laufer, Jeffrey A." userId="S::lauferj@coned.com::b09bba2a-d724-433f-9932-9fde9a8a3439" providerId="AD" clId="Web-{93D194FB-B64A-D838-19C8-E4F2F6557EAD}" dt="2026-01-15T18:27:29.944" v="14" actId="20577"/>
        <pc:sldMkLst>
          <pc:docMk/>
          <pc:sldMk cId="262898084" sldId="2147479508"/>
        </pc:sldMkLst>
        <pc:spChg chg="mod">
          <ac:chgData name="Laufer, Jeffrey A." userId="S::lauferj@coned.com::b09bba2a-d724-433f-9932-9fde9a8a3439" providerId="AD" clId="Web-{93D194FB-B64A-D838-19C8-E4F2F6557EAD}" dt="2026-01-15T18:27:29.944" v="14" actId="20577"/>
          <ac:spMkLst>
            <pc:docMk/>
            <pc:sldMk cId="262898084" sldId="2147479508"/>
            <ac:spMk id="3" creationId="{80B1E95A-4D2E-86FD-BB58-28EB7EC6845B}"/>
          </ac:spMkLst>
        </pc:spChg>
      </pc:sldChg>
      <pc:sldChg chg="modSp">
        <pc:chgData name="Laufer, Jeffrey A." userId="S::lauferj@coned.com::b09bba2a-d724-433f-9932-9fde9a8a3439" providerId="AD" clId="Web-{93D194FB-B64A-D838-19C8-E4F2F6557EAD}" dt="2026-01-15T18:30:06.105" v="16" actId="20577"/>
        <pc:sldMkLst>
          <pc:docMk/>
          <pc:sldMk cId="1827582488" sldId="2147479517"/>
        </pc:sldMkLst>
        <pc:spChg chg="mod">
          <ac:chgData name="Laufer, Jeffrey A." userId="S::lauferj@coned.com::b09bba2a-d724-433f-9932-9fde9a8a3439" providerId="AD" clId="Web-{93D194FB-B64A-D838-19C8-E4F2F6557EAD}" dt="2026-01-15T18:30:06.105" v="16" actId="20577"/>
          <ac:spMkLst>
            <pc:docMk/>
            <pc:sldMk cId="1827582488" sldId="2147479517"/>
            <ac:spMk id="2" creationId="{EF204C8A-6FEE-76BE-2601-0864E50C85DE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4" Type="http://schemas.openxmlformats.org/officeDocument/2006/relationships/image" Target="../media/image27.sv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svg"/><Relationship Id="rId1" Type="http://schemas.openxmlformats.org/officeDocument/2006/relationships/image" Target="../media/image31.png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4" Type="http://schemas.openxmlformats.org/officeDocument/2006/relationships/image" Target="../media/image27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svg"/><Relationship Id="rId1" Type="http://schemas.openxmlformats.org/officeDocument/2006/relationships/image" Target="../media/image31.png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8B9380-6B0B-41F3-9762-6E8FB7E0CD8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593B7837-02AB-4B67-963D-C144F66FFE76}">
      <dgm:prSet/>
      <dgm:spPr/>
      <dgm:t>
        <a:bodyPr/>
        <a:lstStyle/>
        <a:p>
          <a:r>
            <a:rPr lang="en-US"/>
            <a:t>Anticipated completion Feb/March 2026</a:t>
          </a:r>
        </a:p>
      </dgm:t>
    </dgm:pt>
    <dgm:pt modelId="{E8687C34-6FF6-43F6-A9F5-C7C701E48DB6}" type="parTrans" cxnId="{AFFBFC7F-3A5F-4818-997D-AACB3466FB45}">
      <dgm:prSet/>
      <dgm:spPr/>
      <dgm:t>
        <a:bodyPr/>
        <a:lstStyle/>
        <a:p>
          <a:endParaRPr lang="en-US"/>
        </a:p>
      </dgm:t>
    </dgm:pt>
    <dgm:pt modelId="{4765EE60-932B-4D5F-BF30-B233BFD509A9}" type="sibTrans" cxnId="{AFFBFC7F-3A5F-4818-997D-AACB3466FB45}">
      <dgm:prSet/>
      <dgm:spPr/>
      <dgm:t>
        <a:bodyPr/>
        <a:lstStyle/>
        <a:p>
          <a:endParaRPr lang="en-US"/>
        </a:p>
      </dgm:t>
    </dgm:pt>
    <dgm:pt modelId="{81C42675-2A9D-489C-B44C-8F4DDD238DC9}">
      <dgm:prSet/>
      <dgm:spPr/>
      <dgm:t>
        <a:bodyPr/>
        <a:lstStyle/>
        <a:p>
          <a:r>
            <a:rPr lang="en-US"/>
            <a:t>Post Road between Faraday Ave and W. 256 Street</a:t>
          </a:r>
          <a:br>
            <a:rPr lang="en-US"/>
          </a:br>
          <a:r>
            <a:rPr lang="en-US"/>
            <a:t>Post Road between Mosholu Ave and Faraday Ave</a:t>
          </a:r>
        </a:p>
      </dgm:t>
    </dgm:pt>
    <dgm:pt modelId="{D385557A-5AD0-450B-91F5-C47B1544C086}" type="parTrans" cxnId="{64652239-391A-4E94-862F-54F3CE21ED3B}">
      <dgm:prSet/>
      <dgm:spPr/>
      <dgm:t>
        <a:bodyPr/>
        <a:lstStyle/>
        <a:p>
          <a:endParaRPr lang="en-US"/>
        </a:p>
      </dgm:t>
    </dgm:pt>
    <dgm:pt modelId="{0E39715D-E996-4E91-AFF4-AF1072A82366}" type="sibTrans" cxnId="{64652239-391A-4E94-862F-54F3CE21ED3B}">
      <dgm:prSet/>
      <dgm:spPr/>
      <dgm:t>
        <a:bodyPr/>
        <a:lstStyle/>
        <a:p>
          <a:endParaRPr lang="en-US"/>
        </a:p>
      </dgm:t>
    </dgm:pt>
    <dgm:pt modelId="{802CA172-7516-46C5-9446-EA60A47EDDC9}" type="pres">
      <dgm:prSet presAssocID="{288B9380-6B0B-41F3-9762-6E8FB7E0CD8C}" presName="root" presStyleCnt="0">
        <dgm:presLayoutVars>
          <dgm:dir/>
          <dgm:resizeHandles val="exact"/>
        </dgm:presLayoutVars>
      </dgm:prSet>
      <dgm:spPr/>
    </dgm:pt>
    <dgm:pt modelId="{886C30E4-DE36-4A2D-A319-B817A0F1C1F1}" type="pres">
      <dgm:prSet presAssocID="{593B7837-02AB-4B67-963D-C144F66FFE76}" presName="compNode" presStyleCnt="0"/>
      <dgm:spPr/>
    </dgm:pt>
    <dgm:pt modelId="{EC6E9D61-9848-46CE-B8F6-DEC7FFA679D8}" type="pres">
      <dgm:prSet presAssocID="{593B7837-02AB-4B67-963D-C144F66FFE76}" presName="bgRect" presStyleLbl="bgShp" presStyleIdx="0" presStyleCnt="2"/>
      <dgm:spPr/>
    </dgm:pt>
    <dgm:pt modelId="{45F2EB6E-0A00-436D-982B-7B59A3F3F404}" type="pres">
      <dgm:prSet presAssocID="{593B7837-02AB-4B67-963D-C144F66FFE76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100597D8-8264-4A7E-8DC4-7FC436475B2D}" type="pres">
      <dgm:prSet presAssocID="{593B7837-02AB-4B67-963D-C144F66FFE76}" presName="spaceRect" presStyleCnt="0"/>
      <dgm:spPr/>
    </dgm:pt>
    <dgm:pt modelId="{F6E465B4-9921-4EB8-804C-F5FC062829C8}" type="pres">
      <dgm:prSet presAssocID="{593B7837-02AB-4B67-963D-C144F66FFE76}" presName="parTx" presStyleLbl="revTx" presStyleIdx="0" presStyleCnt="2">
        <dgm:presLayoutVars>
          <dgm:chMax val="0"/>
          <dgm:chPref val="0"/>
        </dgm:presLayoutVars>
      </dgm:prSet>
      <dgm:spPr/>
    </dgm:pt>
    <dgm:pt modelId="{CA7027C6-0378-4679-AFFE-36D5D6625058}" type="pres">
      <dgm:prSet presAssocID="{4765EE60-932B-4D5F-BF30-B233BFD509A9}" presName="sibTrans" presStyleCnt="0"/>
      <dgm:spPr/>
    </dgm:pt>
    <dgm:pt modelId="{DD1C95AB-6747-43D0-9F6C-18CEE30AB805}" type="pres">
      <dgm:prSet presAssocID="{81C42675-2A9D-489C-B44C-8F4DDD238DC9}" presName="compNode" presStyleCnt="0"/>
      <dgm:spPr/>
    </dgm:pt>
    <dgm:pt modelId="{F0867CAE-30BE-43C1-B596-7E3E1793D6C5}" type="pres">
      <dgm:prSet presAssocID="{81C42675-2A9D-489C-B44C-8F4DDD238DC9}" presName="bgRect" presStyleLbl="bgShp" presStyleIdx="1" presStyleCnt="2"/>
      <dgm:spPr/>
    </dgm:pt>
    <dgm:pt modelId="{92105893-D7AB-4801-96BE-B991149A03CB}" type="pres">
      <dgm:prSet presAssocID="{81C42675-2A9D-489C-B44C-8F4DDD238DC9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831785E2-859A-4680-B64A-5C5D22C4198F}" type="pres">
      <dgm:prSet presAssocID="{81C42675-2A9D-489C-B44C-8F4DDD238DC9}" presName="spaceRect" presStyleCnt="0"/>
      <dgm:spPr/>
    </dgm:pt>
    <dgm:pt modelId="{D71AEF72-30B2-4A71-9B15-54D028CB4D25}" type="pres">
      <dgm:prSet presAssocID="{81C42675-2A9D-489C-B44C-8F4DDD238DC9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D94F3721-DF09-402E-8B38-7E05575D31EC}" type="presOf" srcId="{81C42675-2A9D-489C-B44C-8F4DDD238DC9}" destId="{D71AEF72-30B2-4A71-9B15-54D028CB4D25}" srcOrd="0" destOrd="0" presId="urn:microsoft.com/office/officeart/2018/2/layout/IconVerticalSolidList"/>
    <dgm:cxn modelId="{64652239-391A-4E94-862F-54F3CE21ED3B}" srcId="{288B9380-6B0B-41F3-9762-6E8FB7E0CD8C}" destId="{81C42675-2A9D-489C-B44C-8F4DDD238DC9}" srcOrd="1" destOrd="0" parTransId="{D385557A-5AD0-450B-91F5-C47B1544C086}" sibTransId="{0E39715D-E996-4E91-AFF4-AF1072A82366}"/>
    <dgm:cxn modelId="{7B28D074-4ED3-4F16-93A8-4C7C410E1026}" type="presOf" srcId="{288B9380-6B0B-41F3-9762-6E8FB7E0CD8C}" destId="{802CA172-7516-46C5-9446-EA60A47EDDC9}" srcOrd="0" destOrd="0" presId="urn:microsoft.com/office/officeart/2018/2/layout/IconVerticalSolidList"/>
    <dgm:cxn modelId="{478C147E-2833-4B22-8A3A-4CDF6BFC9DF0}" type="presOf" srcId="{593B7837-02AB-4B67-963D-C144F66FFE76}" destId="{F6E465B4-9921-4EB8-804C-F5FC062829C8}" srcOrd="0" destOrd="0" presId="urn:microsoft.com/office/officeart/2018/2/layout/IconVerticalSolidList"/>
    <dgm:cxn modelId="{AFFBFC7F-3A5F-4818-997D-AACB3466FB45}" srcId="{288B9380-6B0B-41F3-9762-6E8FB7E0CD8C}" destId="{593B7837-02AB-4B67-963D-C144F66FFE76}" srcOrd="0" destOrd="0" parTransId="{E8687C34-6FF6-43F6-A9F5-C7C701E48DB6}" sibTransId="{4765EE60-932B-4D5F-BF30-B233BFD509A9}"/>
    <dgm:cxn modelId="{4C5E759B-CF7E-4BDD-ABFB-0905D8612DC2}" type="presParOf" srcId="{802CA172-7516-46C5-9446-EA60A47EDDC9}" destId="{886C30E4-DE36-4A2D-A319-B817A0F1C1F1}" srcOrd="0" destOrd="0" presId="urn:microsoft.com/office/officeart/2018/2/layout/IconVerticalSolidList"/>
    <dgm:cxn modelId="{6C3E0339-2453-4724-B62C-A14F945B7FE8}" type="presParOf" srcId="{886C30E4-DE36-4A2D-A319-B817A0F1C1F1}" destId="{EC6E9D61-9848-46CE-B8F6-DEC7FFA679D8}" srcOrd="0" destOrd="0" presId="urn:microsoft.com/office/officeart/2018/2/layout/IconVerticalSolidList"/>
    <dgm:cxn modelId="{2D25F154-66D7-4B11-BB98-8C656791E641}" type="presParOf" srcId="{886C30E4-DE36-4A2D-A319-B817A0F1C1F1}" destId="{45F2EB6E-0A00-436D-982B-7B59A3F3F404}" srcOrd="1" destOrd="0" presId="urn:microsoft.com/office/officeart/2018/2/layout/IconVerticalSolidList"/>
    <dgm:cxn modelId="{16AE570A-289D-4976-BA05-E67F5C9BEDF9}" type="presParOf" srcId="{886C30E4-DE36-4A2D-A319-B817A0F1C1F1}" destId="{100597D8-8264-4A7E-8DC4-7FC436475B2D}" srcOrd="2" destOrd="0" presId="urn:microsoft.com/office/officeart/2018/2/layout/IconVerticalSolidList"/>
    <dgm:cxn modelId="{2EC5DD79-EE64-4C4E-8F9E-38709A7C47ED}" type="presParOf" srcId="{886C30E4-DE36-4A2D-A319-B817A0F1C1F1}" destId="{F6E465B4-9921-4EB8-804C-F5FC062829C8}" srcOrd="3" destOrd="0" presId="urn:microsoft.com/office/officeart/2018/2/layout/IconVerticalSolidList"/>
    <dgm:cxn modelId="{4E0FEF94-EA02-4C53-84EC-FBD5A57FFD0F}" type="presParOf" srcId="{802CA172-7516-46C5-9446-EA60A47EDDC9}" destId="{CA7027C6-0378-4679-AFFE-36D5D6625058}" srcOrd="1" destOrd="0" presId="urn:microsoft.com/office/officeart/2018/2/layout/IconVerticalSolidList"/>
    <dgm:cxn modelId="{1A219121-00B8-41B2-9981-FAEFAC9E4F90}" type="presParOf" srcId="{802CA172-7516-46C5-9446-EA60A47EDDC9}" destId="{DD1C95AB-6747-43D0-9F6C-18CEE30AB805}" srcOrd="2" destOrd="0" presId="urn:microsoft.com/office/officeart/2018/2/layout/IconVerticalSolidList"/>
    <dgm:cxn modelId="{C2EE36AC-F761-4489-98E5-3BB253971636}" type="presParOf" srcId="{DD1C95AB-6747-43D0-9F6C-18CEE30AB805}" destId="{F0867CAE-30BE-43C1-B596-7E3E1793D6C5}" srcOrd="0" destOrd="0" presId="urn:microsoft.com/office/officeart/2018/2/layout/IconVerticalSolidList"/>
    <dgm:cxn modelId="{92CDD473-C28B-448E-B8A9-8F86D0621679}" type="presParOf" srcId="{DD1C95AB-6747-43D0-9F6C-18CEE30AB805}" destId="{92105893-D7AB-4801-96BE-B991149A03CB}" srcOrd="1" destOrd="0" presId="urn:microsoft.com/office/officeart/2018/2/layout/IconVerticalSolidList"/>
    <dgm:cxn modelId="{DC4A801B-C734-4E2F-AC02-28E225BD6338}" type="presParOf" srcId="{DD1C95AB-6747-43D0-9F6C-18CEE30AB805}" destId="{831785E2-859A-4680-B64A-5C5D22C4198F}" srcOrd="2" destOrd="0" presId="urn:microsoft.com/office/officeart/2018/2/layout/IconVerticalSolidList"/>
    <dgm:cxn modelId="{A646693A-308C-49F3-9104-3F8344CAF8AB}" type="presParOf" srcId="{DD1C95AB-6747-43D0-9F6C-18CEE30AB805}" destId="{D71AEF72-30B2-4A71-9B15-54D028CB4D25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F4C624-5D99-46E1-8FC6-5C93F9949FA8}" type="doc">
      <dgm:prSet loTypeId="urn:microsoft.com/office/officeart/2018/2/layout/IconVerticalSolidList" loCatId="icon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287455C7-C1D3-44F7-AD86-F4F06212779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DC has requested that Con Edison relocate poles in advance of their upcoming Northwest Bronx School Safety Improvement project (HWX406). </a:t>
          </a:r>
        </a:p>
      </dgm:t>
    </dgm:pt>
    <dgm:pt modelId="{FD27D6C4-BC97-4AF4-BB65-8C081157EE1A}" type="parTrans" cxnId="{6D3724F0-1ED0-426A-B938-7EA5E7D2AC78}">
      <dgm:prSet/>
      <dgm:spPr/>
      <dgm:t>
        <a:bodyPr/>
        <a:lstStyle/>
        <a:p>
          <a:endParaRPr lang="en-US"/>
        </a:p>
      </dgm:t>
    </dgm:pt>
    <dgm:pt modelId="{47F61B93-451E-4CC5-A46C-352E8D19D908}" type="sibTrans" cxnId="{6D3724F0-1ED0-426A-B938-7EA5E7D2AC78}">
      <dgm:prSet/>
      <dgm:spPr/>
      <dgm:t>
        <a:bodyPr/>
        <a:lstStyle/>
        <a:p>
          <a:endParaRPr lang="en-US"/>
        </a:p>
      </dgm:t>
    </dgm:pt>
    <dgm:pt modelId="{DC991CC1-683C-4798-BDA8-C7B010A3725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n Edison’s Public Improvement Department will coordinate closely with DDC to meet their project needs. </a:t>
          </a:r>
        </a:p>
      </dgm:t>
    </dgm:pt>
    <dgm:pt modelId="{911BDCD6-A488-49EC-BEDD-C7F5DB72E372}" type="parTrans" cxnId="{AB2EB1DC-D000-45AD-A27D-948CB80AECE8}">
      <dgm:prSet/>
      <dgm:spPr/>
      <dgm:t>
        <a:bodyPr/>
        <a:lstStyle/>
        <a:p>
          <a:endParaRPr lang="en-US"/>
        </a:p>
      </dgm:t>
    </dgm:pt>
    <dgm:pt modelId="{F8CE9C80-4E8E-496E-A1A5-E1DFA314C06B}" type="sibTrans" cxnId="{AB2EB1DC-D000-45AD-A27D-948CB80AECE8}">
      <dgm:prSet/>
      <dgm:spPr/>
      <dgm:t>
        <a:bodyPr/>
        <a:lstStyle/>
        <a:p>
          <a:endParaRPr lang="en-US"/>
        </a:p>
      </dgm:t>
    </dgm:pt>
    <dgm:pt modelId="{97D475FF-B921-4734-B282-34337EA92C6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DC anticipates start of construction in the Summer 2027</a:t>
          </a:r>
        </a:p>
      </dgm:t>
    </dgm:pt>
    <dgm:pt modelId="{B9F32FDD-3976-4D34-8D62-4F913BA2BEC3}" type="parTrans" cxnId="{322E3A24-23DA-443C-AB53-9D8094035172}">
      <dgm:prSet/>
      <dgm:spPr/>
      <dgm:t>
        <a:bodyPr/>
        <a:lstStyle/>
        <a:p>
          <a:endParaRPr lang="en-US"/>
        </a:p>
      </dgm:t>
    </dgm:pt>
    <dgm:pt modelId="{B8034C7C-CF77-42BA-81FF-DA0AE2082095}" type="sibTrans" cxnId="{322E3A24-23DA-443C-AB53-9D8094035172}">
      <dgm:prSet/>
      <dgm:spPr/>
      <dgm:t>
        <a:bodyPr/>
        <a:lstStyle/>
        <a:p>
          <a:endParaRPr lang="en-US"/>
        </a:p>
      </dgm:t>
    </dgm:pt>
    <dgm:pt modelId="{19754A61-2893-4E59-9285-D0E02028166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ny Con Edison relocation work will be directly tied to DDC's timelines. </a:t>
          </a:r>
          <a:br>
            <a:rPr lang="en-US"/>
          </a:br>
          <a:endParaRPr lang="en-US"/>
        </a:p>
      </dgm:t>
    </dgm:pt>
    <dgm:pt modelId="{FA775538-E839-412F-8E48-9E90B1C34007}" type="parTrans" cxnId="{EA80046C-A163-40A1-9B68-8641AE57C658}">
      <dgm:prSet/>
      <dgm:spPr/>
      <dgm:t>
        <a:bodyPr/>
        <a:lstStyle/>
        <a:p>
          <a:endParaRPr lang="en-US"/>
        </a:p>
      </dgm:t>
    </dgm:pt>
    <dgm:pt modelId="{378CCD62-49E3-4F2E-90D9-7C909C94A897}" type="sibTrans" cxnId="{EA80046C-A163-40A1-9B68-8641AE57C658}">
      <dgm:prSet/>
      <dgm:spPr/>
      <dgm:t>
        <a:bodyPr/>
        <a:lstStyle/>
        <a:p>
          <a:endParaRPr lang="en-US"/>
        </a:p>
      </dgm:t>
    </dgm:pt>
    <dgm:pt modelId="{A4D6BC14-6FE6-4DD7-82CE-2070DD076A25}" type="pres">
      <dgm:prSet presAssocID="{7BF4C624-5D99-46E1-8FC6-5C93F9949FA8}" presName="root" presStyleCnt="0">
        <dgm:presLayoutVars>
          <dgm:dir/>
          <dgm:resizeHandles val="exact"/>
        </dgm:presLayoutVars>
      </dgm:prSet>
      <dgm:spPr/>
    </dgm:pt>
    <dgm:pt modelId="{365AC41B-2C11-4DF1-ABB9-789B4DA19F65}" type="pres">
      <dgm:prSet presAssocID="{287455C7-C1D3-44F7-AD86-F4F062127798}" presName="compNode" presStyleCnt="0"/>
      <dgm:spPr/>
    </dgm:pt>
    <dgm:pt modelId="{957C04B2-B0F3-4FB1-88C5-954F9AC5C519}" type="pres">
      <dgm:prSet presAssocID="{287455C7-C1D3-44F7-AD86-F4F062127798}" presName="bgRect" presStyleLbl="bgShp" presStyleIdx="0" presStyleCnt="4"/>
      <dgm:spPr/>
    </dgm:pt>
    <dgm:pt modelId="{B304ADE1-A73F-48C5-9980-1DAB89C15CCD}" type="pres">
      <dgm:prSet presAssocID="{287455C7-C1D3-44F7-AD86-F4F06212779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at with solid fill"/>
        </a:ext>
      </dgm:extLst>
    </dgm:pt>
    <dgm:pt modelId="{9740002B-E2E5-4940-8982-22E5A857F34E}" type="pres">
      <dgm:prSet presAssocID="{287455C7-C1D3-44F7-AD86-F4F062127798}" presName="spaceRect" presStyleCnt="0"/>
      <dgm:spPr/>
    </dgm:pt>
    <dgm:pt modelId="{098E260C-324B-475D-8255-29DC920604A1}" type="pres">
      <dgm:prSet presAssocID="{287455C7-C1D3-44F7-AD86-F4F062127798}" presName="parTx" presStyleLbl="revTx" presStyleIdx="0" presStyleCnt="4">
        <dgm:presLayoutVars>
          <dgm:chMax val="0"/>
          <dgm:chPref val="0"/>
        </dgm:presLayoutVars>
      </dgm:prSet>
      <dgm:spPr/>
    </dgm:pt>
    <dgm:pt modelId="{EA12F668-8A28-40CD-A75F-89A0924C96E7}" type="pres">
      <dgm:prSet presAssocID="{47F61B93-451E-4CC5-A46C-352E8D19D908}" presName="sibTrans" presStyleCnt="0"/>
      <dgm:spPr/>
    </dgm:pt>
    <dgm:pt modelId="{CF99EF63-4C52-4481-A9AF-CF232B7E45E2}" type="pres">
      <dgm:prSet presAssocID="{DC991CC1-683C-4798-BDA8-C7B010A37259}" presName="compNode" presStyleCnt="0"/>
      <dgm:spPr/>
    </dgm:pt>
    <dgm:pt modelId="{6B5A66EF-2909-4555-98F1-3D64823BF56B}" type="pres">
      <dgm:prSet presAssocID="{DC991CC1-683C-4798-BDA8-C7B010A37259}" presName="bgRect" presStyleLbl="bgShp" presStyleIdx="1" presStyleCnt="4"/>
      <dgm:spPr/>
    </dgm:pt>
    <dgm:pt modelId="{F83EC462-EB03-4A0E-89EE-78F0B90F1030}" type="pres">
      <dgm:prSet presAssocID="{DC991CC1-683C-4798-BDA8-C7B010A37259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oardroom with solid fill"/>
        </a:ext>
      </dgm:extLst>
    </dgm:pt>
    <dgm:pt modelId="{2BEE48AC-8AFC-4CF4-8B07-E1F7CFC5207F}" type="pres">
      <dgm:prSet presAssocID="{DC991CC1-683C-4798-BDA8-C7B010A37259}" presName="spaceRect" presStyleCnt="0"/>
      <dgm:spPr/>
    </dgm:pt>
    <dgm:pt modelId="{0C1039D7-A89D-4340-8EFD-2EABB2D5D5D1}" type="pres">
      <dgm:prSet presAssocID="{DC991CC1-683C-4798-BDA8-C7B010A37259}" presName="parTx" presStyleLbl="revTx" presStyleIdx="1" presStyleCnt="4">
        <dgm:presLayoutVars>
          <dgm:chMax val="0"/>
          <dgm:chPref val="0"/>
        </dgm:presLayoutVars>
      </dgm:prSet>
      <dgm:spPr/>
    </dgm:pt>
    <dgm:pt modelId="{348AD944-2F77-4576-83D2-41D66E79AB8C}" type="pres">
      <dgm:prSet presAssocID="{F8CE9C80-4E8E-496E-A1A5-E1DFA314C06B}" presName="sibTrans" presStyleCnt="0"/>
      <dgm:spPr/>
    </dgm:pt>
    <dgm:pt modelId="{097CC1C9-1824-4E8A-B1BC-5A198BFD31C6}" type="pres">
      <dgm:prSet presAssocID="{97D475FF-B921-4734-B282-34337EA92C64}" presName="compNode" presStyleCnt="0"/>
      <dgm:spPr/>
    </dgm:pt>
    <dgm:pt modelId="{D2E85D9E-2468-4E69-9FF7-33E39C1D6347}" type="pres">
      <dgm:prSet presAssocID="{97D475FF-B921-4734-B282-34337EA92C64}" presName="bgRect" presStyleLbl="bgShp" presStyleIdx="2" presStyleCnt="4"/>
      <dgm:spPr/>
    </dgm:pt>
    <dgm:pt modelId="{ABA5CD76-94A7-4B65-840F-40749C7B288D}" type="pres">
      <dgm:prSet presAssocID="{97D475FF-B921-4734-B282-34337EA92C64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xcavator"/>
        </a:ext>
      </dgm:extLst>
    </dgm:pt>
    <dgm:pt modelId="{97F72EFE-6A70-4EDC-9890-F82A2602A1D4}" type="pres">
      <dgm:prSet presAssocID="{97D475FF-B921-4734-B282-34337EA92C64}" presName="spaceRect" presStyleCnt="0"/>
      <dgm:spPr/>
    </dgm:pt>
    <dgm:pt modelId="{DFBCE2AB-69E4-44F3-92AD-F53CE825CEB7}" type="pres">
      <dgm:prSet presAssocID="{97D475FF-B921-4734-B282-34337EA92C64}" presName="parTx" presStyleLbl="revTx" presStyleIdx="2" presStyleCnt="4">
        <dgm:presLayoutVars>
          <dgm:chMax val="0"/>
          <dgm:chPref val="0"/>
        </dgm:presLayoutVars>
      </dgm:prSet>
      <dgm:spPr/>
    </dgm:pt>
    <dgm:pt modelId="{0DB7ACE4-300A-4B8E-8963-0338656DF809}" type="pres">
      <dgm:prSet presAssocID="{B8034C7C-CF77-42BA-81FF-DA0AE2082095}" presName="sibTrans" presStyleCnt="0"/>
      <dgm:spPr/>
    </dgm:pt>
    <dgm:pt modelId="{0D65FEAB-2D77-4F6F-956A-DB9A7648A209}" type="pres">
      <dgm:prSet presAssocID="{19754A61-2893-4E59-9285-D0E020281663}" presName="compNode" presStyleCnt="0"/>
      <dgm:spPr/>
    </dgm:pt>
    <dgm:pt modelId="{1C5AB890-9CD5-4E3E-BA8B-0993D8FC434D}" type="pres">
      <dgm:prSet presAssocID="{19754A61-2893-4E59-9285-D0E020281663}" presName="bgRect" presStyleLbl="bgShp" presStyleIdx="3" presStyleCnt="4"/>
      <dgm:spPr/>
    </dgm:pt>
    <dgm:pt modelId="{70E5E59B-293E-4BA1-979D-210EF8DCEEDB}" type="pres">
      <dgm:prSet presAssocID="{19754A61-2893-4E59-9285-D0E020281663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ily calendar outline"/>
        </a:ext>
      </dgm:extLst>
    </dgm:pt>
    <dgm:pt modelId="{9D805E54-2731-48E4-9AD6-242A52134734}" type="pres">
      <dgm:prSet presAssocID="{19754A61-2893-4E59-9285-D0E020281663}" presName="spaceRect" presStyleCnt="0"/>
      <dgm:spPr/>
    </dgm:pt>
    <dgm:pt modelId="{4593691D-2188-4A56-8398-B4F5B47C289F}" type="pres">
      <dgm:prSet presAssocID="{19754A61-2893-4E59-9285-D0E020281663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322E3A24-23DA-443C-AB53-9D8094035172}" srcId="{7BF4C624-5D99-46E1-8FC6-5C93F9949FA8}" destId="{97D475FF-B921-4734-B282-34337EA92C64}" srcOrd="2" destOrd="0" parTransId="{B9F32FDD-3976-4D34-8D62-4F913BA2BEC3}" sibTransId="{B8034C7C-CF77-42BA-81FF-DA0AE2082095}"/>
    <dgm:cxn modelId="{A2AC005E-3FF5-42B8-B57F-85ED9EF5166E}" type="presOf" srcId="{97D475FF-B921-4734-B282-34337EA92C64}" destId="{DFBCE2AB-69E4-44F3-92AD-F53CE825CEB7}" srcOrd="0" destOrd="0" presId="urn:microsoft.com/office/officeart/2018/2/layout/IconVerticalSolidList"/>
    <dgm:cxn modelId="{EA80046C-A163-40A1-9B68-8641AE57C658}" srcId="{7BF4C624-5D99-46E1-8FC6-5C93F9949FA8}" destId="{19754A61-2893-4E59-9285-D0E020281663}" srcOrd="3" destOrd="0" parTransId="{FA775538-E839-412F-8E48-9E90B1C34007}" sibTransId="{378CCD62-49E3-4F2E-90D9-7C909C94A897}"/>
    <dgm:cxn modelId="{CA33E572-DA51-431D-9A60-ED00FDF16E80}" type="presOf" srcId="{19754A61-2893-4E59-9285-D0E020281663}" destId="{4593691D-2188-4A56-8398-B4F5B47C289F}" srcOrd="0" destOrd="0" presId="urn:microsoft.com/office/officeart/2018/2/layout/IconVerticalSolidList"/>
    <dgm:cxn modelId="{B867E793-9CA6-439F-A3B8-245C69EA6F18}" type="presOf" srcId="{287455C7-C1D3-44F7-AD86-F4F062127798}" destId="{098E260C-324B-475D-8255-29DC920604A1}" srcOrd="0" destOrd="0" presId="urn:microsoft.com/office/officeart/2018/2/layout/IconVerticalSolidList"/>
    <dgm:cxn modelId="{D25453A9-E9E4-4D02-B0AE-9FC1DA75623C}" type="presOf" srcId="{7BF4C624-5D99-46E1-8FC6-5C93F9949FA8}" destId="{A4D6BC14-6FE6-4DD7-82CE-2070DD076A25}" srcOrd="0" destOrd="0" presId="urn:microsoft.com/office/officeart/2018/2/layout/IconVerticalSolidList"/>
    <dgm:cxn modelId="{AB2EB1DC-D000-45AD-A27D-948CB80AECE8}" srcId="{7BF4C624-5D99-46E1-8FC6-5C93F9949FA8}" destId="{DC991CC1-683C-4798-BDA8-C7B010A37259}" srcOrd="1" destOrd="0" parTransId="{911BDCD6-A488-49EC-BEDD-C7F5DB72E372}" sibTransId="{F8CE9C80-4E8E-496E-A1A5-E1DFA314C06B}"/>
    <dgm:cxn modelId="{6D3724F0-1ED0-426A-B938-7EA5E7D2AC78}" srcId="{7BF4C624-5D99-46E1-8FC6-5C93F9949FA8}" destId="{287455C7-C1D3-44F7-AD86-F4F062127798}" srcOrd="0" destOrd="0" parTransId="{FD27D6C4-BC97-4AF4-BB65-8C081157EE1A}" sibTransId="{47F61B93-451E-4CC5-A46C-352E8D19D908}"/>
    <dgm:cxn modelId="{77F36EF0-A3A4-42AD-9C4B-F1B80046B67E}" type="presOf" srcId="{DC991CC1-683C-4798-BDA8-C7B010A37259}" destId="{0C1039D7-A89D-4340-8EFD-2EABB2D5D5D1}" srcOrd="0" destOrd="0" presId="urn:microsoft.com/office/officeart/2018/2/layout/IconVerticalSolidList"/>
    <dgm:cxn modelId="{5C07331F-7C77-4E01-B65D-02DDD16F01F3}" type="presParOf" srcId="{A4D6BC14-6FE6-4DD7-82CE-2070DD076A25}" destId="{365AC41B-2C11-4DF1-ABB9-789B4DA19F65}" srcOrd="0" destOrd="0" presId="urn:microsoft.com/office/officeart/2018/2/layout/IconVerticalSolidList"/>
    <dgm:cxn modelId="{2A258660-FF4A-4EAE-810B-43B875D26358}" type="presParOf" srcId="{365AC41B-2C11-4DF1-ABB9-789B4DA19F65}" destId="{957C04B2-B0F3-4FB1-88C5-954F9AC5C519}" srcOrd="0" destOrd="0" presId="urn:microsoft.com/office/officeart/2018/2/layout/IconVerticalSolidList"/>
    <dgm:cxn modelId="{32A50D37-4B9E-49AE-93C0-4F0EE6BD360E}" type="presParOf" srcId="{365AC41B-2C11-4DF1-ABB9-789B4DA19F65}" destId="{B304ADE1-A73F-48C5-9980-1DAB89C15CCD}" srcOrd="1" destOrd="0" presId="urn:microsoft.com/office/officeart/2018/2/layout/IconVerticalSolidList"/>
    <dgm:cxn modelId="{F1B0B3C8-99A7-43E1-8992-C06D9A8217CA}" type="presParOf" srcId="{365AC41B-2C11-4DF1-ABB9-789B4DA19F65}" destId="{9740002B-E2E5-4940-8982-22E5A857F34E}" srcOrd="2" destOrd="0" presId="urn:microsoft.com/office/officeart/2018/2/layout/IconVerticalSolidList"/>
    <dgm:cxn modelId="{C2D929F0-CBE3-4F91-A2EE-73412C92D7BD}" type="presParOf" srcId="{365AC41B-2C11-4DF1-ABB9-789B4DA19F65}" destId="{098E260C-324B-475D-8255-29DC920604A1}" srcOrd="3" destOrd="0" presId="urn:microsoft.com/office/officeart/2018/2/layout/IconVerticalSolidList"/>
    <dgm:cxn modelId="{691B1CAD-F08C-4D79-8E80-C10C7CC7886B}" type="presParOf" srcId="{A4D6BC14-6FE6-4DD7-82CE-2070DD076A25}" destId="{EA12F668-8A28-40CD-A75F-89A0924C96E7}" srcOrd="1" destOrd="0" presId="urn:microsoft.com/office/officeart/2018/2/layout/IconVerticalSolidList"/>
    <dgm:cxn modelId="{4E9329EB-5711-4FC0-A189-E4E19724B651}" type="presParOf" srcId="{A4D6BC14-6FE6-4DD7-82CE-2070DD076A25}" destId="{CF99EF63-4C52-4481-A9AF-CF232B7E45E2}" srcOrd="2" destOrd="0" presId="urn:microsoft.com/office/officeart/2018/2/layout/IconVerticalSolidList"/>
    <dgm:cxn modelId="{494B9CF0-57F4-4B15-B260-E2C39E0B3747}" type="presParOf" srcId="{CF99EF63-4C52-4481-A9AF-CF232B7E45E2}" destId="{6B5A66EF-2909-4555-98F1-3D64823BF56B}" srcOrd="0" destOrd="0" presId="urn:microsoft.com/office/officeart/2018/2/layout/IconVerticalSolidList"/>
    <dgm:cxn modelId="{67B1CFC0-657D-4D57-81EF-B966D4619BE9}" type="presParOf" srcId="{CF99EF63-4C52-4481-A9AF-CF232B7E45E2}" destId="{F83EC462-EB03-4A0E-89EE-78F0B90F1030}" srcOrd="1" destOrd="0" presId="urn:microsoft.com/office/officeart/2018/2/layout/IconVerticalSolidList"/>
    <dgm:cxn modelId="{4F91B80B-6F8A-4D3A-BF8D-B6B5AE7788CF}" type="presParOf" srcId="{CF99EF63-4C52-4481-A9AF-CF232B7E45E2}" destId="{2BEE48AC-8AFC-4CF4-8B07-E1F7CFC5207F}" srcOrd="2" destOrd="0" presId="urn:microsoft.com/office/officeart/2018/2/layout/IconVerticalSolidList"/>
    <dgm:cxn modelId="{1F4D6220-3E91-4FDF-8B1F-08E52227ACE6}" type="presParOf" srcId="{CF99EF63-4C52-4481-A9AF-CF232B7E45E2}" destId="{0C1039D7-A89D-4340-8EFD-2EABB2D5D5D1}" srcOrd="3" destOrd="0" presId="urn:microsoft.com/office/officeart/2018/2/layout/IconVerticalSolidList"/>
    <dgm:cxn modelId="{09E8BB24-EC9C-4302-9C49-6AD605DB5341}" type="presParOf" srcId="{A4D6BC14-6FE6-4DD7-82CE-2070DD076A25}" destId="{348AD944-2F77-4576-83D2-41D66E79AB8C}" srcOrd="3" destOrd="0" presId="urn:microsoft.com/office/officeart/2018/2/layout/IconVerticalSolidList"/>
    <dgm:cxn modelId="{0B53DCBD-C942-4E38-80D3-4D89FFB7CC5C}" type="presParOf" srcId="{A4D6BC14-6FE6-4DD7-82CE-2070DD076A25}" destId="{097CC1C9-1824-4E8A-B1BC-5A198BFD31C6}" srcOrd="4" destOrd="0" presId="urn:microsoft.com/office/officeart/2018/2/layout/IconVerticalSolidList"/>
    <dgm:cxn modelId="{98C6405F-20EB-4BAA-9F62-D947830AA82A}" type="presParOf" srcId="{097CC1C9-1824-4E8A-B1BC-5A198BFD31C6}" destId="{D2E85D9E-2468-4E69-9FF7-33E39C1D6347}" srcOrd="0" destOrd="0" presId="urn:microsoft.com/office/officeart/2018/2/layout/IconVerticalSolidList"/>
    <dgm:cxn modelId="{AA670D23-DB38-4836-B44F-EE48054D78CB}" type="presParOf" srcId="{097CC1C9-1824-4E8A-B1BC-5A198BFD31C6}" destId="{ABA5CD76-94A7-4B65-840F-40749C7B288D}" srcOrd="1" destOrd="0" presId="urn:microsoft.com/office/officeart/2018/2/layout/IconVerticalSolidList"/>
    <dgm:cxn modelId="{69F71360-4DF8-4BEF-8EA2-C2F67F2219AE}" type="presParOf" srcId="{097CC1C9-1824-4E8A-B1BC-5A198BFD31C6}" destId="{97F72EFE-6A70-4EDC-9890-F82A2602A1D4}" srcOrd="2" destOrd="0" presId="urn:microsoft.com/office/officeart/2018/2/layout/IconVerticalSolidList"/>
    <dgm:cxn modelId="{358BA6EB-14E2-4046-80F6-A1A5AF4C4891}" type="presParOf" srcId="{097CC1C9-1824-4E8A-B1BC-5A198BFD31C6}" destId="{DFBCE2AB-69E4-44F3-92AD-F53CE825CEB7}" srcOrd="3" destOrd="0" presId="urn:microsoft.com/office/officeart/2018/2/layout/IconVerticalSolidList"/>
    <dgm:cxn modelId="{9CFD04BF-F106-481B-8DE0-644924B55851}" type="presParOf" srcId="{A4D6BC14-6FE6-4DD7-82CE-2070DD076A25}" destId="{0DB7ACE4-300A-4B8E-8963-0338656DF809}" srcOrd="5" destOrd="0" presId="urn:microsoft.com/office/officeart/2018/2/layout/IconVerticalSolidList"/>
    <dgm:cxn modelId="{DCF42DA1-82EC-4BFB-90E2-4471B5BB8958}" type="presParOf" srcId="{A4D6BC14-6FE6-4DD7-82CE-2070DD076A25}" destId="{0D65FEAB-2D77-4F6F-956A-DB9A7648A209}" srcOrd="6" destOrd="0" presId="urn:microsoft.com/office/officeart/2018/2/layout/IconVerticalSolidList"/>
    <dgm:cxn modelId="{3D4CBE3A-43D4-4A6B-B767-02CA60B03CA5}" type="presParOf" srcId="{0D65FEAB-2D77-4F6F-956A-DB9A7648A209}" destId="{1C5AB890-9CD5-4E3E-BA8B-0993D8FC434D}" srcOrd="0" destOrd="0" presId="urn:microsoft.com/office/officeart/2018/2/layout/IconVerticalSolidList"/>
    <dgm:cxn modelId="{B20429CB-B92E-407F-A74E-543979880E17}" type="presParOf" srcId="{0D65FEAB-2D77-4F6F-956A-DB9A7648A209}" destId="{70E5E59B-293E-4BA1-979D-210EF8DCEEDB}" srcOrd="1" destOrd="0" presId="urn:microsoft.com/office/officeart/2018/2/layout/IconVerticalSolidList"/>
    <dgm:cxn modelId="{23721641-89EB-4EA3-8B91-2B5EB0CE28C2}" type="presParOf" srcId="{0D65FEAB-2D77-4F6F-956A-DB9A7648A209}" destId="{9D805E54-2731-48E4-9AD6-242A52134734}" srcOrd="2" destOrd="0" presId="urn:microsoft.com/office/officeart/2018/2/layout/IconVerticalSolidList"/>
    <dgm:cxn modelId="{2B59ADEE-DC99-479A-AEC1-071455CC7581}" type="presParOf" srcId="{0D65FEAB-2D77-4F6F-956A-DB9A7648A209}" destId="{4593691D-2188-4A56-8398-B4F5B47C289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6E9D61-9848-46CE-B8F6-DEC7FFA679D8}">
      <dsp:nvSpPr>
        <dsp:cNvPr id="0" name=""/>
        <dsp:cNvSpPr/>
      </dsp:nvSpPr>
      <dsp:spPr>
        <a:xfrm>
          <a:off x="0" y="723086"/>
          <a:ext cx="11281833" cy="133492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F2EB6E-0A00-436D-982B-7B59A3F3F404}">
      <dsp:nvSpPr>
        <dsp:cNvPr id="0" name=""/>
        <dsp:cNvSpPr/>
      </dsp:nvSpPr>
      <dsp:spPr>
        <a:xfrm>
          <a:off x="403815" y="1023445"/>
          <a:ext cx="734210" cy="73421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E465B4-9921-4EB8-804C-F5FC062829C8}">
      <dsp:nvSpPr>
        <dsp:cNvPr id="0" name=""/>
        <dsp:cNvSpPr/>
      </dsp:nvSpPr>
      <dsp:spPr>
        <a:xfrm>
          <a:off x="1541842" y="723086"/>
          <a:ext cx="9739990" cy="13349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280" tIns="141280" rIns="141280" bIns="14128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Anticipated completion Feb/March 2026</a:t>
          </a:r>
        </a:p>
      </dsp:txBody>
      <dsp:txXfrm>
        <a:off x="1541842" y="723086"/>
        <a:ext cx="9739990" cy="1334928"/>
      </dsp:txXfrm>
    </dsp:sp>
    <dsp:sp modelId="{F0867CAE-30BE-43C1-B596-7E3E1793D6C5}">
      <dsp:nvSpPr>
        <dsp:cNvPr id="0" name=""/>
        <dsp:cNvSpPr/>
      </dsp:nvSpPr>
      <dsp:spPr>
        <a:xfrm>
          <a:off x="0" y="2391747"/>
          <a:ext cx="11281833" cy="133492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05893-D7AB-4801-96BE-B991149A03CB}">
      <dsp:nvSpPr>
        <dsp:cNvPr id="0" name=""/>
        <dsp:cNvSpPr/>
      </dsp:nvSpPr>
      <dsp:spPr>
        <a:xfrm>
          <a:off x="403815" y="2692106"/>
          <a:ext cx="734210" cy="73421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1AEF72-30B2-4A71-9B15-54D028CB4D25}">
      <dsp:nvSpPr>
        <dsp:cNvPr id="0" name=""/>
        <dsp:cNvSpPr/>
      </dsp:nvSpPr>
      <dsp:spPr>
        <a:xfrm>
          <a:off x="1541842" y="2391747"/>
          <a:ext cx="9739990" cy="13349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280" tIns="141280" rIns="141280" bIns="14128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Post Road between Faraday Ave and W. 256 Street</a:t>
          </a:r>
          <a:br>
            <a:rPr lang="en-US" sz="2500" kern="1200"/>
          </a:br>
          <a:r>
            <a:rPr lang="en-US" sz="2500" kern="1200"/>
            <a:t>Post Road between Mosholu Ave and Faraday Ave</a:t>
          </a:r>
        </a:p>
      </dsp:txBody>
      <dsp:txXfrm>
        <a:off x="1541842" y="2391747"/>
        <a:ext cx="9739990" cy="13349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7C04B2-B0F3-4FB1-88C5-954F9AC5C519}">
      <dsp:nvSpPr>
        <dsp:cNvPr id="0" name=""/>
        <dsp:cNvSpPr/>
      </dsp:nvSpPr>
      <dsp:spPr>
        <a:xfrm>
          <a:off x="0" y="1846"/>
          <a:ext cx="11281833" cy="9360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04ADE1-A73F-48C5-9980-1DAB89C15CCD}">
      <dsp:nvSpPr>
        <dsp:cNvPr id="0" name=""/>
        <dsp:cNvSpPr/>
      </dsp:nvSpPr>
      <dsp:spPr>
        <a:xfrm>
          <a:off x="283144" y="212450"/>
          <a:ext cx="514807" cy="51480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98E260C-324B-475D-8255-29DC920604A1}">
      <dsp:nvSpPr>
        <dsp:cNvPr id="0" name=""/>
        <dsp:cNvSpPr/>
      </dsp:nvSpPr>
      <dsp:spPr>
        <a:xfrm>
          <a:off x="1081096" y="1846"/>
          <a:ext cx="10200736" cy="936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2" tIns="99062" rIns="99062" bIns="9906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DDC has requested that Con Edison relocate poles in advance of their upcoming Northwest Bronx School Safety Improvement project (HWX406). </a:t>
          </a:r>
        </a:p>
      </dsp:txBody>
      <dsp:txXfrm>
        <a:off x="1081096" y="1846"/>
        <a:ext cx="10200736" cy="936014"/>
      </dsp:txXfrm>
    </dsp:sp>
    <dsp:sp modelId="{6B5A66EF-2909-4555-98F1-3D64823BF56B}">
      <dsp:nvSpPr>
        <dsp:cNvPr id="0" name=""/>
        <dsp:cNvSpPr/>
      </dsp:nvSpPr>
      <dsp:spPr>
        <a:xfrm>
          <a:off x="0" y="1171864"/>
          <a:ext cx="11281833" cy="9360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3EC462-EB03-4A0E-89EE-78F0B90F1030}">
      <dsp:nvSpPr>
        <dsp:cNvPr id="0" name=""/>
        <dsp:cNvSpPr/>
      </dsp:nvSpPr>
      <dsp:spPr>
        <a:xfrm>
          <a:off x="283144" y="1382468"/>
          <a:ext cx="514807" cy="51480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C1039D7-A89D-4340-8EFD-2EABB2D5D5D1}">
      <dsp:nvSpPr>
        <dsp:cNvPr id="0" name=""/>
        <dsp:cNvSpPr/>
      </dsp:nvSpPr>
      <dsp:spPr>
        <a:xfrm>
          <a:off x="1081096" y="1171864"/>
          <a:ext cx="10200736" cy="936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2" tIns="99062" rIns="99062" bIns="9906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on Edison’s Public Improvement Department will coordinate closely with DDC to meet their project needs. </a:t>
          </a:r>
        </a:p>
      </dsp:txBody>
      <dsp:txXfrm>
        <a:off x="1081096" y="1171864"/>
        <a:ext cx="10200736" cy="936014"/>
      </dsp:txXfrm>
    </dsp:sp>
    <dsp:sp modelId="{D2E85D9E-2468-4E69-9FF7-33E39C1D6347}">
      <dsp:nvSpPr>
        <dsp:cNvPr id="0" name=""/>
        <dsp:cNvSpPr/>
      </dsp:nvSpPr>
      <dsp:spPr>
        <a:xfrm>
          <a:off x="0" y="2341882"/>
          <a:ext cx="11281833" cy="9360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A5CD76-94A7-4B65-840F-40749C7B288D}">
      <dsp:nvSpPr>
        <dsp:cNvPr id="0" name=""/>
        <dsp:cNvSpPr/>
      </dsp:nvSpPr>
      <dsp:spPr>
        <a:xfrm>
          <a:off x="283144" y="2552486"/>
          <a:ext cx="514807" cy="51480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FBCE2AB-69E4-44F3-92AD-F53CE825CEB7}">
      <dsp:nvSpPr>
        <dsp:cNvPr id="0" name=""/>
        <dsp:cNvSpPr/>
      </dsp:nvSpPr>
      <dsp:spPr>
        <a:xfrm>
          <a:off x="1081096" y="2341882"/>
          <a:ext cx="10200736" cy="936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2" tIns="99062" rIns="99062" bIns="9906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DDC anticipates start of construction in the Summer 2027</a:t>
          </a:r>
        </a:p>
      </dsp:txBody>
      <dsp:txXfrm>
        <a:off x="1081096" y="2341882"/>
        <a:ext cx="10200736" cy="936014"/>
      </dsp:txXfrm>
    </dsp:sp>
    <dsp:sp modelId="{1C5AB890-9CD5-4E3E-BA8B-0993D8FC434D}">
      <dsp:nvSpPr>
        <dsp:cNvPr id="0" name=""/>
        <dsp:cNvSpPr/>
      </dsp:nvSpPr>
      <dsp:spPr>
        <a:xfrm>
          <a:off x="0" y="3511900"/>
          <a:ext cx="11281833" cy="9360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5E59B-293E-4BA1-979D-210EF8DCEEDB}">
      <dsp:nvSpPr>
        <dsp:cNvPr id="0" name=""/>
        <dsp:cNvSpPr/>
      </dsp:nvSpPr>
      <dsp:spPr>
        <a:xfrm>
          <a:off x="283144" y="3722504"/>
          <a:ext cx="514807" cy="51480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593691D-2188-4A56-8398-B4F5B47C289F}">
      <dsp:nvSpPr>
        <dsp:cNvPr id="0" name=""/>
        <dsp:cNvSpPr/>
      </dsp:nvSpPr>
      <dsp:spPr>
        <a:xfrm>
          <a:off x="1081096" y="3511900"/>
          <a:ext cx="10200736" cy="936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2" tIns="99062" rIns="99062" bIns="9906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ny Con Edison relocation work will be directly tied to DDC's timelines. </a:t>
          </a:r>
          <a:br>
            <a:rPr lang="en-US" sz="2200" kern="1200"/>
          </a:br>
          <a:endParaRPr lang="en-US" sz="2200" kern="1200"/>
        </a:p>
      </dsp:txBody>
      <dsp:txXfrm>
        <a:off x="1081096" y="3511900"/>
        <a:ext cx="10200736" cy="9360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F7E8EB-CF1C-8D5E-9DE5-BC2C4E161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0AEFFA-DB89-FBEA-D8DB-E54D5EB3C52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9B2EC1-039F-D54C-8AF9-8AADCA9DE436}" type="datetimeFigureOut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0BC84E-65E4-7C92-1794-10C1616EF6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2774A-FC38-83C2-6C63-12C07CFE5E9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006648-15E5-9944-93F1-BEF440A739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09064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CCFE29-B3CE-1D4E-8341-59B0A9609B1B}" type="datetimeFigureOut">
              <a:rPr lang="en-US" smtClean="0"/>
              <a:t>1/1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9159CC-A2B8-314F-A92F-F0E6F2921F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90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9159CC-A2B8-314F-A92F-F0E6F2921F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604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3FC19A5-2018-4E65-BE9E-0E04426E41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4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B2E17-928B-18AA-DF8D-B003E31F48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B1A828-30E9-8DEE-471C-8728C0589F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D8FB74-F62A-2C6C-7D15-4DCAB70965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142E6-F552-70DA-6E00-5DCAFCE08D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9159CC-A2B8-314F-A92F-F0E6F2921F9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45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14.jpeg"/><Relationship Id="rId5" Type="http://schemas.openxmlformats.org/officeDocument/2006/relationships/tags" Target="../tags/tag9.xml"/><Relationship Id="rId10" Type="http://schemas.openxmlformats.org/officeDocument/2006/relationships/image" Target="../media/image13.svg"/><Relationship Id="rId4" Type="http://schemas.openxmlformats.org/officeDocument/2006/relationships/tags" Target="../tags/tag8.xml"/><Relationship Id="rId9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10" Type="http://schemas.openxmlformats.org/officeDocument/2006/relationships/image" Target="../media/image7.emf"/><Relationship Id="rId4" Type="http://schemas.openxmlformats.org/officeDocument/2006/relationships/tags" Target="../tags/tag13.xml"/><Relationship Id="rId9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7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20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7.emf"/><Relationship Id="rId4" Type="http://schemas.openxmlformats.org/officeDocument/2006/relationships/image" Target="../media/image20.emf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1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5" Type="http://schemas.openxmlformats.org/officeDocument/2006/relationships/image" Target="../media/image23.png"/><Relationship Id="rId4" Type="http://schemas.openxmlformats.org/officeDocument/2006/relationships/image" Target="../media/image17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Slide - Blue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84D2136-2F47-B65F-12E8-66897610D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191" y="1927540"/>
            <a:ext cx="3779501" cy="2976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7178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E178FA-E1A1-155B-84ED-FC97A25661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icture (Divider Slide)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128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Media /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28C9CED-435A-40FE-C1B9-79B6AFF37E1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0"/>
            <a:ext cx="12192000" cy="685800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SmartArt Media / Charts (Divider Slide)</a:t>
            </a:r>
          </a:p>
        </p:txBody>
      </p:sp>
    </p:spTree>
    <p:extLst>
      <p:ext uri="{BB962C8B-B14F-4D97-AF65-F5344CB8AC3E}">
        <p14:creationId xmlns:p14="http://schemas.microsoft.com/office/powerpoint/2010/main" val="3491644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/ Media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594733E-4C98-C63A-5188-1B6B264D0588}"/>
              </a:ext>
            </a:extLst>
          </p:cNvPr>
          <p:cNvCxnSpPr>
            <a:cxnSpLocks/>
          </p:cNvCxnSpPr>
          <p:nvPr userDrawn="1"/>
        </p:nvCxnSpPr>
        <p:spPr>
          <a:xfrm>
            <a:off x="704892" y="3960318"/>
            <a:ext cx="787400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1B7EDB7-641B-D843-16DE-EDA8E81C0F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3752" y="4118152"/>
            <a:ext cx="4702320" cy="673804"/>
          </a:xfrm>
          <a:ln>
            <a:noFill/>
          </a:ln>
        </p:spPr>
        <p:txBody>
          <a:bodyPr anchor="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5F01D34-B87B-049B-1595-D928A4A4BE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7892" y="869580"/>
            <a:ext cx="4702320" cy="2923096"/>
          </a:xfrm>
          <a:ln>
            <a:noFill/>
          </a:ln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title – Title Slid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053E2A-B78B-0E8A-87D0-2E0818889E8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26157" y="248501"/>
            <a:ext cx="6407081" cy="6322162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1321681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/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0C4CFC-2BFE-A5B1-23CD-4E2A74A772AA}"/>
              </a:ext>
            </a:extLst>
          </p:cNvPr>
          <p:cNvCxnSpPr>
            <a:cxnSpLocks/>
          </p:cNvCxnSpPr>
          <p:nvPr userDrawn="1"/>
        </p:nvCxnSpPr>
        <p:spPr>
          <a:xfrm>
            <a:off x="7011893" y="3960318"/>
            <a:ext cx="787400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9C05F7-1593-8408-80A0-08EA530D9D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84893" y="4118152"/>
            <a:ext cx="4702320" cy="67380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E8B8C15-424A-096E-32B7-AE931B6F9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84894" y="788898"/>
            <a:ext cx="4702320" cy="3003778"/>
          </a:xfrm>
          <a:ln>
            <a:solidFill>
              <a:schemeClr val="tx1"/>
            </a:solidFill>
          </a:ln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title – Title Slid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FA0A0E82-312E-36B0-5559-72C318EF002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18661" y="267919"/>
            <a:ext cx="6407081" cy="6322162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1057088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3A6A5F2-25C7-60C7-1DC8-4D50E3CD5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646" y="1862798"/>
            <a:ext cx="5267166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E56A01B-5615-A8A6-FB96-0FDEBB927A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846367"/>
            <a:ext cx="11532898" cy="692873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- 1 Column)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BFD5AE8-42D2-42E3-DB7C-259DDEA98A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646" y="2412786"/>
            <a:ext cx="11234074" cy="705728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 Replace filler copy.</a:t>
            </a:r>
          </a:p>
          <a:p>
            <a:endParaRPr lang="en-US">
              <a:effectLst/>
              <a:latin typeface="Arial" panose="020B0604020202020204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B44D963-A6AA-3620-0831-A2915CCA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546" y="3221443"/>
            <a:ext cx="10934174" cy="1280388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evel 4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Level 4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Level 4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63743C7-8169-8E20-FC6C-AE30EA3F32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22" y="220667"/>
            <a:ext cx="4502150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586073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08100F-B681-066C-658B-6F793181F6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2646" y="2213491"/>
            <a:ext cx="5473353" cy="3972155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E9890F-E209-F4C4-22A3-30EDA7B65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9082" y="2213491"/>
            <a:ext cx="5527638" cy="3972155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75541B62-5E71-369D-630A-B276D0E5E5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645" y="1705482"/>
            <a:ext cx="5473353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7321912-AF54-B03F-E4D6-3FDB2C66F3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29082" y="1705482"/>
            <a:ext cx="5527638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2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39C79BD-AB7F-E934-E179-85314B218C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846367"/>
            <a:ext cx="11532898" cy="692873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2 Column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A283A5-4C3E-D7E3-901B-C81EC5ADE1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822" y="220667"/>
            <a:ext cx="4502150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4243597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A1010D-DA62-0A8F-F3A3-A49127678A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84047" y="2255470"/>
            <a:ext cx="3388353" cy="39570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9870DF8-1F7B-2951-1713-313B79971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29291" y="2255470"/>
            <a:ext cx="3827429" cy="39570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4A3E7447-01C3-9AAF-5C79-AFA54C0341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4047" y="1705482"/>
            <a:ext cx="3388353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2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D30A6932-53E9-B36E-1E86-677FE74411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29291" y="1705482"/>
            <a:ext cx="3827429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3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60795E2-B7F3-8624-0EDD-70FB439351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645" y="2255470"/>
            <a:ext cx="3528014" cy="39570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B208EA7A-D8C1-8CD7-DF1D-8EBE7E963D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645" y="1705482"/>
            <a:ext cx="3528014" cy="38374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0E0C385-B29F-37CA-64A8-AAF1354E13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846367"/>
            <a:ext cx="11532898" cy="692873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3 Column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6D5ED3-B12C-CCF9-B1FE-741599BA09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822" y="220667"/>
            <a:ext cx="4502150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456133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4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A9D4C8D-4F53-D0E5-DF2B-7D8F35B0DE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846367"/>
            <a:ext cx="11532898" cy="692873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4 Column)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FB45C3DE-EA16-7FBD-2A01-2A264A832F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822" y="1705484"/>
            <a:ext cx="2609709" cy="383745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ubtitle 1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7C98BE50-6086-8080-DC18-74C31310C0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8788" y="1705484"/>
            <a:ext cx="2609709" cy="383745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ubtitle 2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305AB68-7E27-0D6A-9832-9F07657CF4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3753" y="1705484"/>
            <a:ext cx="2609709" cy="383745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ubtitle 3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A29BD335-70C8-66B4-A21D-8C89464E71C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08719" y="1705483"/>
            <a:ext cx="2609709" cy="383745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ubtitle 4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C95FB96-DC9A-822B-C4C2-F4E09AAD5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21" y="2224563"/>
            <a:ext cx="2609709" cy="40148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BCA7912-F4B2-25B6-E30C-CF167913BF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18788" y="2224563"/>
            <a:ext cx="2609709" cy="40148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881DEF-392B-9668-AAB6-C1F568410F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752" y="2210645"/>
            <a:ext cx="2609709" cy="40148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1541E0B-57A1-C8C4-2D73-B2FCC67EFE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308719" y="2224563"/>
            <a:ext cx="2609709" cy="401487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  <a:latin typeface="+mn-lt"/>
              </a:defRPr>
            </a:lvl1pPr>
            <a:lvl2pPr marL="468313" indent="-457200">
              <a:tabLst/>
              <a:defRPr b="0">
                <a:solidFill>
                  <a:schemeClr val="tx1"/>
                </a:solidFill>
              </a:defRPr>
            </a:lvl2pPr>
            <a:lvl3pPr>
              <a:defRPr b="0"/>
            </a:lvl3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1CC2A2-689B-3E27-058F-54490E3558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22" y="220667"/>
            <a:ext cx="4502150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49563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alf 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4E5BFDEE-7944-8660-7454-E4D7FF1383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97119" y="3339440"/>
            <a:ext cx="3912277" cy="288688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2C6097F-D9C8-DDC4-37A0-7EA6ABDFB0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7119" y="2815707"/>
            <a:ext cx="3912277" cy="361579"/>
          </a:xfrm>
        </p:spPr>
        <p:txBody>
          <a:bodyPr anchor="t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AP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51D4436-AA26-4A21-9157-4984711625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9507" y="846367"/>
            <a:ext cx="3912276" cy="1807186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A0576DB-7624-7BBA-D16B-134511D2A6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99505" y="220667"/>
            <a:ext cx="3912277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AB413C4F-0061-E9BA-315D-0F2F49F5CF0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7639878" cy="6430617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3367862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alf 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4E5BFDEE-7944-8660-7454-E4D7FF1383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1435" y="3339440"/>
            <a:ext cx="3912277" cy="288688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2C6097F-D9C8-DDC4-37A0-7EA6ABDFB0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435" y="2815707"/>
            <a:ext cx="3912277" cy="361579"/>
          </a:xfrm>
        </p:spPr>
        <p:txBody>
          <a:bodyPr anchor="t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AP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51D4436-AA26-4A21-9157-4984711625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3912276" cy="1807186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A0576DB-7624-7BBA-D16B-134511D2A6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3821" y="220667"/>
            <a:ext cx="3912277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AB413C4F-0061-E9BA-315D-0F2F49F5CF0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552123" y="0"/>
            <a:ext cx="7639878" cy="6430617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3231799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Slide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102532C5-D019-EC78-AD6C-477C7C0938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3074" y="1948070"/>
            <a:ext cx="3778045" cy="2974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364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s Horiz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A628CE1-190F-2112-9DB0-9787E56219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1435" y="3429000"/>
            <a:ext cx="3912276" cy="279732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F4E77992-01F9-EC4F-DE98-9BEF559998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434" y="2848914"/>
            <a:ext cx="3909889" cy="361579"/>
          </a:xfrm>
        </p:spPr>
        <p:txBody>
          <a:bodyPr anchor="t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APTION HEADER HER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F9DB8AC8-705E-42BA-B7B4-F88E3C786C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552123" y="220667"/>
            <a:ext cx="7639878" cy="2989826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9105F59D-378E-544A-130C-45752FC2E35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552123" y="3429000"/>
            <a:ext cx="7639878" cy="2989826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F32F195-3974-ECE0-CA72-46CEF4A74F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3912276" cy="1807186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0293A0-04BC-36F4-0CE3-4E32AC7305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3821" y="220667"/>
            <a:ext cx="3912277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344396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s Verti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8CDF086-F027-8290-AEBD-6D750E124D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1435" y="3429000"/>
            <a:ext cx="3912276" cy="2810434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0B89ADE-E774-E458-C9B1-1DD5CAEBC1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434" y="2848914"/>
            <a:ext cx="3909889" cy="361579"/>
          </a:xfrm>
        </p:spPr>
        <p:txBody>
          <a:bodyPr anchor="t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APTION HEADER HER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B64C2FE4-7569-3E37-AEFB-AAD3D87A87A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552123" y="220667"/>
            <a:ext cx="3568147" cy="6219890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6316636-B2A5-D963-76D0-7388BBB8C4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436295" y="220667"/>
            <a:ext cx="3568147" cy="6219890"/>
          </a:xfrm>
        </p:spPr>
        <p:txBody>
          <a:bodyPr/>
          <a:lstStyle/>
          <a:p>
            <a:r>
              <a:rPr lang="en-US"/>
              <a:t>Click the icon to add a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D8C2E14-861E-E21E-71F5-182A273066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3912276" cy="1807186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26BE138-9387-AAFC-8AE3-8D05857210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3821" y="220667"/>
            <a:ext cx="3912277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552613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Table - 2 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9C9D6BE-287B-ADAC-DEB5-3CB7EDA4D3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822" y="220667"/>
            <a:ext cx="4621129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96DED7B-DCE0-369F-615D-B6B31650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11497854" cy="811647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Comparison 2)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6365BB3-D663-9891-7A23-9394D3A484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824" y="2219853"/>
            <a:ext cx="5320710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523F8C1E-78CA-8F86-0ADB-B7CF8BD3C76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3823" y="2832451"/>
            <a:ext cx="5320710" cy="3352600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F8D5E36-42D5-9A26-5A61-7AD06BB176C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822" y="1758144"/>
            <a:ext cx="5320710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1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92664E37-DD6E-ECF9-85F5-74528A29F8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4112" y="2229414"/>
            <a:ext cx="5320710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AB4E723-B994-6936-3D88-4C24B38C0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34111" y="2842012"/>
            <a:ext cx="5320710" cy="3352600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2289D597-F273-5609-BEF3-06EEB352704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34110" y="1767705"/>
            <a:ext cx="5320710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2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53C521-5E4B-CE35-A251-EF6CEB2EC922}"/>
              </a:ext>
            </a:extLst>
          </p:cNvPr>
          <p:cNvCxnSpPr>
            <a:cxnSpLocks/>
          </p:cNvCxnSpPr>
          <p:nvPr userDrawn="1"/>
        </p:nvCxnSpPr>
        <p:spPr>
          <a:xfrm>
            <a:off x="5961529" y="2457522"/>
            <a:ext cx="0" cy="373709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047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Table - 3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88EC22-6651-EFF7-4AB0-34B239AE16C2}"/>
              </a:ext>
            </a:extLst>
          </p:cNvPr>
          <p:cNvCxnSpPr>
            <a:cxnSpLocks/>
          </p:cNvCxnSpPr>
          <p:nvPr userDrawn="1"/>
        </p:nvCxnSpPr>
        <p:spPr>
          <a:xfrm>
            <a:off x="4114800" y="2486025"/>
            <a:ext cx="0" cy="37004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201757-D3D4-4956-6689-FEE5ABFFA876}"/>
              </a:ext>
            </a:extLst>
          </p:cNvPr>
          <p:cNvCxnSpPr>
            <a:cxnSpLocks/>
          </p:cNvCxnSpPr>
          <p:nvPr userDrawn="1"/>
        </p:nvCxnSpPr>
        <p:spPr>
          <a:xfrm>
            <a:off x="8029575" y="2486025"/>
            <a:ext cx="0" cy="37004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091580-EAD6-0E26-A291-E266362794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822" y="220667"/>
            <a:ext cx="4621129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3004FC8-CE91-F989-92EF-CA608108A6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11497854" cy="811647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Comparison 3)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46BCF4E-9B11-808B-8175-9A10860597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7182" y="2224765"/>
            <a:ext cx="3211855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3757E0-6972-5555-8372-010C4A55B4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7181" y="2813761"/>
            <a:ext cx="3211855" cy="3372727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F5FFCED3-7627-F286-1F20-DB9AF313EC0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7180" y="1758144"/>
            <a:ext cx="3211855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1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57B2CAD-6D47-781D-FCF7-33327F16BC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69102" y="2224765"/>
            <a:ext cx="3211855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802D962D-FF4E-A690-FD01-4C3EB46005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69101" y="2813761"/>
            <a:ext cx="3211855" cy="3372727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487EF7D1-2A72-D837-CFD7-F4449071163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69100" y="1758144"/>
            <a:ext cx="3211855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2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F919B955-8D20-E1E6-7450-87207F76DFE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01022" y="2224765"/>
            <a:ext cx="3211855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08E0BE2-D5B7-276D-4A53-613190711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01021" y="2813761"/>
            <a:ext cx="3211855" cy="3372727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3769FC7D-24EA-EC7F-EF4F-5DE7FD5D49F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01020" y="1758144"/>
            <a:ext cx="3211855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3</a:t>
            </a:r>
          </a:p>
        </p:txBody>
      </p:sp>
    </p:spTree>
    <p:extLst>
      <p:ext uri="{BB962C8B-B14F-4D97-AF65-F5344CB8AC3E}">
        <p14:creationId xmlns:p14="http://schemas.microsoft.com/office/powerpoint/2010/main" val="1819951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Table - 4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BA402F-3982-2471-D9C5-CDBCC1C53AD0}"/>
              </a:ext>
            </a:extLst>
          </p:cNvPr>
          <p:cNvCxnSpPr>
            <a:cxnSpLocks/>
          </p:cNvCxnSpPr>
          <p:nvPr userDrawn="1"/>
        </p:nvCxnSpPr>
        <p:spPr>
          <a:xfrm>
            <a:off x="3088996" y="2486025"/>
            <a:ext cx="0" cy="365479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4F2FEF7-305E-CC0E-CA22-DEAE7C037BF5}"/>
              </a:ext>
            </a:extLst>
          </p:cNvPr>
          <p:cNvCxnSpPr>
            <a:cxnSpLocks/>
          </p:cNvCxnSpPr>
          <p:nvPr userDrawn="1"/>
        </p:nvCxnSpPr>
        <p:spPr>
          <a:xfrm>
            <a:off x="6202475" y="2486025"/>
            <a:ext cx="0" cy="365479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AC4CA9-20D2-AE04-BCB6-F88027D0EA30}"/>
              </a:ext>
            </a:extLst>
          </p:cNvPr>
          <p:cNvCxnSpPr>
            <a:cxnSpLocks/>
          </p:cNvCxnSpPr>
          <p:nvPr userDrawn="1"/>
        </p:nvCxnSpPr>
        <p:spPr>
          <a:xfrm>
            <a:off x="9249231" y="2486025"/>
            <a:ext cx="0" cy="365479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47B6DE-E787-7B47-5A3B-E4C5240FC5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2382" y="2227600"/>
            <a:ext cx="2609709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1AD4CF0-E74D-4C4A-DA86-F1FAC848D1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2381" y="2831610"/>
            <a:ext cx="2609709" cy="3309214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BA983CC-3AB0-E108-9C98-538E572BE1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7552" y="2215800"/>
            <a:ext cx="2609709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A1E21667-7ED1-ACBD-D4D9-2F7C96215E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57551" y="2831609"/>
            <a:ext cx="2609709" cy="3309213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B3DF6818-E665-BED6-EE3B-D943DB0E9B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64371" y="1758144"/>
            <a:ext cx="2609709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2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DA4FC18-92FC-71E2-FE04-0DEBF39F4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32830" y="2227600"/>
            <a:ext cx="2609709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25F8EF75-51BF-B676-E20A-81CFCBED54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432829" y="2831610"/>
            <a:ext cx="2609709" cy="3309212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6183AF0F-8399-1FAF-4311-5E547F300DD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39649" y="1758144"/>
            <a:ext cx="2609709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3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CAFE3666-4E54-1987-0840-BF87C4B4D6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449105" y="2203997"/>
            <a:ext cx="2609709" cy="588996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ond Level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B8CD3CA8-459A-B028-45FA-78F6D5812EF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449104" y="2804796"/>
            <a:ext cx="2609709" cy="3336025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20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Third Level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BF13E87-841A-5F84-B7C5-ABFF29E9D3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455924" y="1734541"/>
            <a:ext cx="2609709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4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A217DA87-6CE2-C978-F803-38C84FB210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2382" y="1758144"/>
            <a:ext cx="2609708" cy="361579"/>
          </a:xfrm>
        </p:spPr>
        <p:txBody>
          <a:bodyPr anchor="t">
            <a:normAutofit/>
          </a:bodyPr>
          <a:lstStyle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HEADER 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D1AEA1F-EE9C-3A3D-7D80-72EA9DC4AC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822" y="220667"/>
            <a:ext cx="4621129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39B90E6-17E6-0A1A-C2FB-2A750A1CF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11497854" cy="811647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Comparison 4)</a:t>
            </a:r>
          </a:p>
        </p:txBody>
      </p:sp>
    </p:spTree>
    <p:extLst>
      <p:ext uri="{BB962C8B-B14F-4D97-AF65-F5344CB8AC3E}">
        <p14:creationId xmlns:p14="http://schemas.microsoft.com/office/powerpoint/2010/main" val="780685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 w/ Me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815229-8D7A-405B-3453-CD2A7230C85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3822" y="1690688"/>
            <a:ext cx="11532898" cy="45037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Select an icon below to insert specific media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43F1247-8719-4A3C-1890-476FA4E470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822" y="220667"/>
            <a:ext cx="4621129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7B272F5-237F-CEE2-911D-7023CC69B77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846367"/>
            <a:ext cx="11497854" cy="811647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 – Media)</a:t>
            </a:r>
          </a:p>
        </p:txBody>
      </p:sp>
    </p:spTree>
    <p:extLst>
      <p:ext uri="{BB962C8B-B14F-4D97-AF65-F5344CB8AC3E}">
        <p14:creationId xmlns:p14="http://schemas.microsoft.com/office/powerpoint/2010/main" val="1234956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roduct Mock-up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with a blank screen&#10;&#10;Description automatically generated">
            <a:extLst>
              <a:ext uri="{FF2B5EF4-FFF2-40B4-BE49-F238E27FC236}">
                <a16:creationId xmlns:a16="http://schemas.microsoft.com/office/drawing/2014/main" id="{606BFCD7-769A-4322-D56F-D73FD9CB1D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4420" t="21306" r="20693" b="14626"/>
          <a:stretch/>
        </p:blipFill>
        <p:spPr>
          <a:xfrm>
            <a:off x="3552105" y="1528516"/>
            <a:ext cx="6748350" cy="4037947"/>
          </a:xfrm>
          <a:prstGeom prst="rect">
            <a:avLst/>
          </a:prstGeom>
        </p:spPr>
      </p:pic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F8B4DDCF-4495-8D28-C1A0-3CB282CF70C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981357" y="2057074"/>
            <a:ext cx="4327804" cy="2714449"/>
          </a:xfrm>
        </p:spPr>
        <p:txBody>
          <a:bodyPr/>
          <a:lstStyle/>
          <a:p>
            <a:r>
              <a:rPr lang="en-US"/>
              <a:t>Click the icon to add a 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0845535-8206-716E-2E3D-E0B9D6FEB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21" y="220667"/>
            <a:ext cx="3963972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B88E14D-2650-8FCA-3730-8B5B78BCFC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981872"/>
            <a:ext cx="3963972" cy="1268269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D5AA8DD-7A95-35BC-8E94-AA6771600B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21" y="2431022"/>
            <a:ext cx="3963973" cy="3821497"/>
          </a:xfrm>
          <a:ln>
            <a:noFill/>
          </a:ln>
        </p:spPr>
        <p:txBody>
          <a:bodyPr anchor="t"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pic>
        <p:nvPicPr>
          <p:cNvPr id="3" name="Picture 2" descr="A close up of a cell phone&#10;&#10;AI-generated content may be incorrect.">
            <a:extLst>
              <a:ext uri="{FF2B5EF4-FFF2-40B4-BE49-F238E27FC236}">
                <a16:creationId xmlns:a16="http://schemas.microsoft.com/office/drawing/2014/main" id="{BC9A56FE-E41F-B44D-C56B-5002BE2AAC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77623" y="1390186"/>
            <a:ext cx="2598382" cy="4399473"/>
          </a:xfrm>
          <a:prstGeom prst="rect">
            <a:avLst/>
          </a:prstGeom>
        </p:spPr>
      </p:pic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28DE4F-5AA3-3F0B-92AE-185754068F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138835" y="1781283"/>
            <a:ext cx="1675957" cy="3624495"/>
          </a:xfrm>
          <a:prstGeom prst="roundRect">
            <a:avLst/>
          </a:prstGeom>
          <a:effectLst>
            <a:softEdge rad="0"/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30B4EA-EF63-E904-5422-3626125E3532}"/>
              </a:ext>
            </a:extLst>
          </p:cNvPr>
          <p:cNvGrpSpPr/>
          <p:nvPr userDrawn="1"/>
        </p:nvGrpSpPr>
        <p:grpSpPr>
          <a:xfrm>
            <a:off x="10702421" y="1839356"/>
            <a:ext cx="529822" cy="145625"/>
            <a:chOff x="6717308" y="1242913"/>
            <a:chExt cx="674280" cy="185330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80B053DE-37A3-9F38-1EC0-07D2599E5BCD}"/>
                </a:ext>
              </a:extLst>
            </p:cNvPr>
            <p:cNvSpPr/>
            <p:nvPr userDrawn="1"/>
          </p:nvSpPr>
          <p:spPr>
            <a:xfrm>
              <a:off x="6762750" y="1242913"/>
              <a:ext cx="542925" cy="185330"/>
            </a:xfrm>
            <a:prstGeom prst="roundRect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877CDE6-1D9F-BF40-5612-48515DA27AEE}"/>
                </a:ext>
              </a:extLst>
            </p:cNvPr>
            <p:cNvSpPr/>
            <p:nvPr userDrawn="1"/>
          </p:nvSpPr>
          <p:spPr>
            <a:xfrm>
              <a:off x="6717308" y="1242913"/>
              <a:ext cx="185330" cy="185330"/>
            </a:xfrm>
            <a:prstGeom prst="ellipse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6AD426E-6073-499F-5632-1D366068F59A}"/>
                </a:ext>
              </a:extLst>
            </p:cNvPr>
            <p:cNvSpPr/>
            <p:nvPr userDrawn="1"/>
          </p:nvSpPr>
          <p:spPr>
            <a:xfrm>
              <a:off x="7206258" y="1242913"/>
              <a:ext cx="185330" cy="185330"/>
            </a:xfrm>
            <a:prstGeom prst="ellipse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96681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roduct Mock-up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4168DE81-C50D-FCC3-F270-BDA73490B66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979433" y="345056"/>
            <a:ext cx="3899141" cy="574519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he icon to add an imag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FC02290-6BE8-FCD5-E8CC-D3E0C5D4F3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21" y="220667"/>
            <a:ext cx="4502151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DCFE3F6-8B1D-426A-CF8D-1D2AC9B29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981872"/>
            <a:ext cx="4502150" cy="1268269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5E880F1-65DE-B5B1-1272-AA72BA5544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3823" y="4573586"/>
            <a:ext cx="4502149" cy="1545907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Fourth Level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Fourth Level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BC8FB24-5759-2493-4557-B8D7522FC7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823" y="2431022"/>
            <a:ext cx="4502149" cy="1961683"/>
          </a:xfr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pic>
        <p:nvPicPr>
          <p:cNvPr id="10" name="Picture 9" descr="A close up of a cell phone&#10;&#10;AI-generated content may be incorrect.">
            <a:extLst>
              <a:ext uri="{FF2B5EF4-FFF2-40B4-BE49-F238E27FC236}">
                <a16:creationId xmlns:a16="http://schemas.microsoft.com/office/drawing/2014/main" id="{51ED921E-522A-ABDA-A632-F9BD0918FA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0508" y="628109"/>
            <a:ext cx="3324841" cy="5629484"/>
          </a:xfrm>
          <a:prstGeom prst="rect">
            <a:avLst/>
          </a:prstGeom>
        </p:spPr>
      </p:pic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B9B0C411-F80B-C2BE-A198-7166863D06D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334000" y="1122415"/>
            <a:ext cx="2133601" cy="4660970"/>
          </a:xfrm>
          <a:prstGeom prst="roundRect">
            <a:avLst>
              <a:gd name="adj" fmla="val 17747"/>
            </a:avLst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35D8BA-9CD8-D851-3C0E-609F8840AD77}"/>
              </a:ext>
            </a:extLst>
          </p:cNvPr>
          <p:cNvGrpSpPr/>
          <p:nvPr userDrawn="1"/>
        </p:nvGrpSpPr>
        <p:grpSpPr>
          <a:xfrm>
            <a:off x="6082877" y="1208402"/>
            <a:ext cx="674280" cy="185330"/>
            <a:chOff x="6717308" y="1242913"/>
            <a:chExt cx="674280" cy="185330"/>
          </a:xfrm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41D1AA11-9466-3BF9-1FAD-AAD00C4114B9}"/>
                </a:ext>
              </a:extLst>
            </p:cNvPr>
            <p:cNvSpPr/>
            <p:nvPr userDrawn="1"/>
          </p:nvSpPr>
          <p:spPr>
            <a:xfrm>
              <a:off x="6762750" y="1242913"/>
              <a:ext cx="542925" cy="185330"/>
            </a:xfrm>
            <a:prstGeom prst="roundRect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8F0993B-1344-2FA4-8848-83F3A22CCDB1}"/>
                </a:ext>
              </a:extLst>
            </p:cNvPr>
            <p:cNvSpPr/>
            <p:nvPr userDrawn="1"/>
          </p:nvSpPr>
          <p:spPr>
            <a:xfrm>
              <a:off x="6717308" y="1242913"/>
              <a:ext cx="185330" cy="185330"/>
            </a:xfrm>
            <a:prstGeom prst="ellipse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658D711-4F89-DC4B-C253-12C507B62F28}"/>
                </a:ext>
              </a:extLst>
            </p:cNvPr>
            <p:cNvSpPr/>
            <p:nvPr userDrawn="1"/>
          </p:nvSpPr>
          <p:spPr>
            <a:xfrm>
              <a:off x="7206258" y="1242913"/>
              <a:ext cx="185330" cy="185330"/>
            </a:xfrm>
            <a:prstGeom prst="ellipse">
              <a:avLst/>
            </a:prstGeom>
            <a:solidFill>
              <a:srgbClr val="0705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4521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alf Image on Blu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DEAA020-3BC3-2F5A-A072-4ECD441B5E46}"/>
              </a:ext>
            </a:extLst>
          </p:cNvPr>
          <p:cNvSpPr/>
          <p:nvPr userDrawn="1"/>
        </p:nvSpPr>
        <p:spPr>
          <a:xfrm>
            <a:off x="6134102" y="0"/>
            <a:ext cx="6057898" cy="64389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4B33C4E-F414-5004-1B20-2C7D88CF9E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22" y="220667"/>
            <a:ext cx="4502150" cy="580324"/>
          </a:xfrm>
          <a:ln>
            <a:noFill/>
          </a:ln>
        </p:spPr>
        <p:txBody>
          <a:bodyPr anchor="t"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F23AED-12DD-7633-64DF-AB9C4C6633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981872"/>
            <a:ext cx="4502150" cy="1268269"/>
          </a:xfrm>
          <a:ln>
            <a:noFill/>
          </a:ln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title (Content Slide)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A616DCC-32C9-37E7-5103-84C8EB92ED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823" y="2431022"/>
            <a:ext cx="4502149" cy="1961683"/>
          </a:xfr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Lorem ipsum dolor sit </a:t>
            </a:r>
            <a:r>
              <a:rPr lang="en-US" err="1">
                <a:effectLst/>
                <a:latin typeface="Arial" panose="020B0604020202020204" pitchFamily="34" charset="0"/>
              </a:rPr>
              <a:t>amet</a:t>
            </a:r>
            <a:r>
              <a:rPr lang="en-US">
                <a:effectLst/>
                <a:latin typeface="Arial" panose="020B0604020202020204" pitchFamily="34" charset="0"/>
              </a:rPr>
              <a:t>, </a:t>
            </a:r>
            <a:r>
              <a:rPr lang="en-US" err="1">
                <a:effectLst/>
                <a:latin typeface="Arial" panose="020B0604020202020204" pitchFamily="34" charset="0"/>
              </a:rPr>
              <a:t>consectetu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adipiscing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elit</a:t>
            </a:r>
            <a:r>
              <a:rPr lang="en-US">
                <a:effectLst/>
                <a:latin typeface="Arial" panose="020B0604020202020204" pitchFamily="34" charset="0"/>
              </a:rPr>
              <a:t>, sed do </a:t>
            </a:r>
            <a:r>
              <a:rPr lang="en-US" err="1">
                <a:effectLst/>
                <a:latin typeface="Arial" panose="020B0604020202020204" pitchFamily="34" charset="0"/>
              </a:rPr>
              <a:t>eiusmod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tempor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incididunt</a:t>
            </a:r>
            <a:r>
              <a:rPr lang="en-US">
                <a:effectLst/>
                <a:latin typeface="Arial" panose="020B0604020202020204" pitchFamily="34" charset="0"/>
              </a:rPr>
              <a:t> </a:t>
            </a:r>
            <a:r>
              <a:rPr lang="en-US" err="1">
                <a:effectLst/>
                <a:latin typeface="Arial" panose="020B0604020202020204" pitchFamily="34" charset="0"/>
              </a:rPr>
              <a:t>ut</a:t>
            </a:r>
            <a:r>
              <a:rPr lang="en-US">
                <a:effectLst/>
                <a:latin typeface="Arial" panose="020B0604020202020204" pitchFamily="34" charset="0"/>
              </a:rPr>
              <a:t> labore et dolore magna </a:t>
            </a:r>
            <a:r>
              <a:rPr lang="en-US" err="1">
                <a:effectLst/>
                <a:latin typeface="Arial" panose="020B0604020202020204" pitchFamily="34" charset="0"/>
              </a:rPr>
              <a:t>aliqua</a:t>
            </a:r>
            <a:r>
              <a:rPr lang="en-US"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52C1BA2-C6EE-DECA-DF84-ABFF5DFB21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3823" y="4573586"/>
            <a:ext cx="4502149" cy="1545907"/>
          </a:xfrm>
        </p:spPr>
        <p:txBody>
          <a:bodyPr>
            <a:normAutofit/>
          </a:bodyPr>
          <a:lstStyle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Fourth Level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Fourth Level 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F963A051-85C0-3AB5-4CF9-1816753E20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85611" y="575733"/>
            <a:ext cx="6472989" cy="5296148"/>
          </a:xfrm>
        </p:spPr>
        <p:txBody>
          <a:bodyPr/>
          <a:lstStyle/>
          <a:p>
            <a:r>
              <a:rPr lang="en-US"/>
              <a:t>Click this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7109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-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1D31272-529E-9B4F-3F91-D51037689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3920" y="2298141"/>
            <a:ext cx="6824534" cy="1493837"/>
          </a:xfrm>
          <a:ln>
            <a:noFill/>
          </a:ln>
        </p:spPr>
        <p:txBody>
          <a:bodyPr anchor="b">
            <a:normAutofit/>
          </a:bodyPr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47536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0545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- 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1D31272-529E-9B4F-3F91-D51037689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3920" y="2303929"/>
            <a:ext cx="6824534" cy="1488049"/>
          </a:xfrm>
          <a:ln>
            <a:noFill/>
          </a:ln>
        </p:spPr>
        <p:txBody>
          <a:bodyPr anchor="b">
            <a:normAutofit/>
          </a:bodyPr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8466657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7EAA6E2-591A-B4C7-5BB3-22AB6A7917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529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398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" y="5279185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76000"/>
                </a:schemeClr>
              </a:gs>
              <a:gs pos="71000">
                <a:srgbClr val="4CB0DF">
                  <a:alpha val="89000"/>
                </a:srgbClr>
              </a:gs>
              <a:gs pos="100000">
                <a:schemeClr val="accent1">
                  <a:lumMod val="60000"/>
                  <a:lumOff val="40000"/>
                  <a:alpha val="74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99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77704"/>
            <a:ext cx="6868800" cy="187424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31" indent="0" algn="ctr">
              <a:buNone/>
              <a:defRPr/>
            </a:lvl4pPr>
            <a:lvl5pPr marL="457063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588898"/>
            <a:ext cx="6868800" cy="249812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4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398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721" y="5910608"/>
            <a:ext cx="2444834" cy="49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158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35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398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2" y="5932122"/>
            <a:ext cx="4892895" cy="3447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8872" tIns="64008" rIns="118872" bIns="64008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3" y="5047065"/>
            <a:ext cx="4892895" cy="43672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8872" tIns="64008" rIns="118872" bIns="64008" rtlCol="0" anchor="t" anchorCtr="0">
            <a:spAutoFit/>
          </a:bodyPr>
          <a:lstStyle>
            <a:lvl1pPr>
              <a:defRPr lang="en-US" sz="1998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3" y="2007566"/>
            <a:ext cx="4892895" cy="11259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8872" tIns="64008" rIns="118872" bIns="64008" rtlCol="0" anchor="t" anchorCtr="0">
            <a:spAutoFit/>
          </a:bodyPr>
          <a:lstStyle>
            <a:lvl1pPr>
              <a:defRPr lang="en-US" sz="3598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CB558F7-0BF5-443B-B17E-F83E14F39EC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ltGray">
          <a:xfrm>
            <a:off x="674036" y="685455"/>
            <a:ext cx="2615950" cy="505149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713BFAE-B8A8-45D4-AAB6-108F339655E6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69" b="93676"/>
          <a:stretch/>
        </p:blipFill>
        <p:spPr bwMode="ltGray">
          <a:xfrm>
            <a:off x="10780521" y="0"/>
            <a:ext cx="1199832" cy="433709"/>
          </a:xfrm>
          <a:custGeom>
            <a:avLst/>
            <a:gdLst>
              <a:gd name="connsiteX0" fmla="*/ 0 w 1199832"/>
              <a:gd name="connsiteY0" fmla="*/ 0 h 433709"/>
              <a:gd name="connsiteX1" fmla="*/ 1199832 w 1199832"/>
              <a:gd name="connsiteY1" fmla="*/ 0 h 433709"/>
              <a:gd name="connsiteX2" fmla="*/ 1199832 w 1199832"/>
              <a:gd name="connsiteY2" fmla="*/ 216754 h 433709"/>
              <a:gd name="connsiteX3" fmla="*/ 0 w 1199832"/>
              <a:gd name="connsiteY3" fmla="*/ 433709 h 43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9832" h="433709">
                <a:moveTo>
                  <a:pt x="0" y="0"/>
                </a:moveTo>
                <a:lnTo>
                  <a:pt x="1199832" y="0"/>
                </a:lnTo>
                <a:lnTo>
                  <a:pt x="1199832" y="216754"/>
                </a:lnTo>
                <a:lnTo>
                  <a:pt x="0" y="433709"/>
                </a:lnTo>
                <a:close/>
              </a:path>
            </a:pathLst>
          </a:cu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8FB804B2-5B96-4A21-8BA1-57F38C111E9C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69" t="6018" b="35606"/>
          <a:stretch/>
        </p:blipFill>
        <p:spPr bwMode="ltGray">
          <a:xfrm>
            <a:off x="10780521" y="412714"/>
            <a:ext cx="1199832" cy="4003434"/>
          </a:xfrm>
          <a:custGeom>
            <a:avLst/>
            <a:gdLst>
              <a:gd name="connsiteX0" fmla="*/ 1199832 w 1199832"/>
              <a:gd name="connsiteY0" fmla="*/ 0 h 4003434"/>
              <a:gd name="connsiteX1" fmla="*/ 1199832 w 1199832"/>
              <a:gd name="connsiteY1" fmla="*/ 3786396 h 4003434"/>
              <a:gd name="connsiteX2" fmla="*/ 0 w 1199832"/>
              <a:gd name="connsiteY2" fmla="*/ 4003434 h 4003434"/>
              <a:gd name="connsiteX3" fmla="*/ 0 w 1199832"/>
              <a:gd name="connsiteY3" fmla="*/ 217038 h 4003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9832" h="4003434">
                <a:moveTo>
                  <a:pt x="1199832" y="0"/>
                </a:moveTo>
                <a:lnTo>
                  <a:pt x="1199832" y="3786396"/>
                </a:lnTo>
                <a:lnTo>
                  <a:pt x="0" y="4003434"/>
                </a:lnTo>
                <a:lnTo>
                  <a:pt x="0" y="217038"/>
                </a:lnTo>
                <a:close/>
              </a:path>
            </a:pathLst>
          </a:cu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09CF027E-828D-479C-BCD6-7A929516416D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69" t="64259" b="12881"/>
          <a:stretch/>
        </p:blipFill>
        <p:spPr bwMode="ltGray">
          <a:xfrm>
            <a:off x="10780521" y="4406889"/>
            <a:ext cx="1199832" cy="1567755"/>
          </a:xfrm>
          <a:custGeom>
            <a:avLst/>
            <a:gdLst>
              <a:gd name="connsiteX0" fmla="*/ 1199832 w 1199832"/>
              <a:gd name="connsiteY0" fmla="*/ 0 h 1567755"/>
              <a:gd name="connsiteX1" fmla="*/ 1199832 w 1199832"/>
              <a:gd name="connsiteY1" fmla="*/ 1350810 h 1567755"/>
              <a:gd name="connsiteX2" fmla="*/ 0 w 1199832"/>
              <a:gd name="connsiteY2" fmla="*/ 1567755 h 1567755"/>
              <a:gd name="connsiteX3" fmla="*/ 0 w 1199832"/>
              <a:gd name="connsiteY3" fmla="*/ 216946 h 156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9832" h="1567755">
                <a:moveTo>
                  <a:pt x="1199832" y="0"/>
                </a:moveTo>
                <a:lnTo>
                  <a:pt x="1199832" y="1350810"/>
                </a:lnTo>
                <a:lnTo>
                  <a:pt x="0" y="1567755"/>
                </a:lnTo>
                <a:lnTo>
                  <a:pt x="0" y="216946"/>
                </a:lnTo>
                <a:close/>
              </a:path>
            </a:pathLst>
          </a:cu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70B545F3-6818-44F9-B87A-06546F941431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631" r="23910" b="77235"/>
          <a:stretch/>
        </p:blipFill>
        <p:spPr bwMode="ltGray">
          <a:xfrm>
            <a:off x="8101866" y="-1"/>
            <a:ext cx="2481207" cy="1561220"/>
          </a:xfrm>
          <a:custGeom>
            <a:avLst/>
            <a:gdLst>
              <a:gd name="connsiteX0" fmla="*/ 0 w 2481207"/>
              <a:gd name="connsiteY0" fmla="*/ 0 h 1561220"/>
              <a:gd name="connsiteX1" fmla="*/ 2481207 w 2481207"/>
              <a:gd name="connsiteY1" fmla="*/ 0 h 1561220"/>
              <a:gd name="connsiteX2" fmla="*/ 2481207 w 2481207"/>
              <a:gd name="connsiteY2" fmla="*/ 1112586 h 1561220"/>
              <a:gd name="connsiteX3" fmla="*/ 0 w 2481207"/>
              <a:gd name="connsiteY3" fmla="*/ 1561220 h 1561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81207" h="1561220">
                <a:moveTo>
                  <a:pt x="0" y="0"/>
                </a:moveTo>
                <a:lnTo>
                  <a:pt x="2481207" y="0"/>
                </a:lnTo>
                <a:lnTo>
                  <a:pt x="2481207" y="1112586"/>
                </a:lnTo>
                <a:lnTo>
                  <a:pt x="0" y="1561220"/>
                </a:lnTo>
                <a:close/>
              </a:path>
            </a:pathLst>
          </a:cu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F47C97A-C389-4440-A2E4-0C2D71EE0A42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631" t="19440" r="23910"/>
          <a:stretch/>
        </p:blipFill>
        <p:spPr bwMode="ltGray">
          <a:xfrm>
            <a:off x="8101866" y="1333203"/>
            <a:ext cx="2481207" cy="5524796"/>
          </a:xfrm>
          <a:custGeom>
            <a:avLst/>
            <a:gdLst>
              <a:gd name="connsiteX0" fmla="*/ 2481207 w 2481207"/>
              <a:gd name="connsiteY0" fmla="*/ 0 h 5524796"/>
              <a:gd name="connsiteX1" fmla="*/ 2481207 w 2481207"/>
              <a:gd name="connsiteY1" fmla="*/ 5524796 h 5524796"/>
              <a:gd name="connsiteX2" fmla="*/ 0 w 2481207"/>
              <a:gd name="connsiteY2" fmla="*/ 5524796 h 5524796"/>
              <a:gd name="connsiteX3" fmla="*/ 0 w 2481207"/>
              <a:gd name="connsiteY3" fmla="*/ 448738 h 55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81207" h="5524796">
                <a:moveTo>
                  <a:pt x="2481207" y="0"/>
                </a:moveTo>
                <a:lnTo>
                  <a:pt x="2481207" y="5524796"/>
                </a:lnTo>
                <a:lnTo>
                  <a:pt x="0" y="5524796"/>
                </a:lnTo>
                <a:lnTo>
                  <a:pt x="0" y="448738"/>
                </a:lnTo>
                <a:close/>
              </a:path>
            </a:pathLst>
          </a:cu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CDCEC61-4D3F-4DED-949C-0703B9947A74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836" r="69747"/>
          <a:stretch/>
        </p:blipFill>
        <p:spPr bwMode="ltGray">
          <a:xfrm>
            <a:off x="6136491" y="3554921"/>
            <a:ext cx="1767944" cy="3303083"/>
          </a:xfrm>
          <a:custGeom>
            <a:avLst/>
            <a:gdLst>
              <a:gd name="connsiteX0" fmla="*/ 1767944 w 1767944"/>
              <a:gd name="connsiteY0" fmla="*/ 0 h 3303083"/>
              <a:gd name="connsiteX1" fmla="*/ 1767944 w 1767944"/>
              <a:gd name="connsiteY1" fmla="*/ 3303083 h 3303083"/>
              <a:gd name="connsiteX2" fmla="*/ 0 w 1767944"/>
              <a:gd name="connsiteY2" fmla="*/ 3303083 h 3303083"/>
              <a:gd name="connsiteX3" fmla="*/ 0 w 1767944"/>
              <a:gd name="connsiteY3" fmla="*/ 319713 h 3303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7944" h="3303083">
                <a:moveTo>
                  <a:pt x="1767944" y="0"/>
                </a:moveTo>
                <a:lnTo>
                  <a:pt x="1767944" y="3303083"/>
                </a:lnTo>
                <a:lnTo>
                  <a:pt x="0" y="3303083"/>
                </a:lnTo>
                <a:lnTo>
                  <a:pt x="0" y="319713"/>
                </a:lnTo>
                <a:close/>
              </a:path>
            </a:pathLst>
          </a:cu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7FD4CEC-0A9E-4351-B634-72F85E14D029}"/>
              </a:ext>
            </a:extLst>
          </p:cNvPr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943" r="69747" b="46506"/>
          <a:stretch/>
        </p:blipFill>
        <p:spPr bwMode="ltGray">
          <a:xfrm>
            <a:off x="6136491" y="819027"/>
            <a:ext cx="1767944" cy="2849565"/>
          </a:xfrm>
          <a:custGeom>
            <a:avLst/>
            <a:gdLst>
              <a:gd name="connsiteX0" fmla="*/ 1767944 w 1767944"/>
              <a:gd name="connsiteY0" fmla="*/ 0 h 2849565"/>
              <a:gd name="connsiteX1" fmla="*/ 1767944 w 1767944"/>
              <a:gd name="connsiteY1" fmla="*/ 2529913 h 2849565"/>
              <a:gd name="connsiteX2" fmla="*/ 0 w 1767944"/>
              <a:gd name="connsiteY2" fmla="*/ 2849565 h 2849565"/>
              <a:gd name="connsiteX3" fmla="*/ 0 w 1767944"/>
              <a:gd name="connsiteY3" fmla="*/ 319653 h 2849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7944" h="2849565">
                <a:moveTo>
                  <a:pt x="1767944" y="0"/>
                </a:moveTo>
                <a:lnTo>
                  <a:pt x="1767944" y="2529913"/>
                </a:lnTo>
                <a:lnTo>
                  <a:pt x="0" y="2849565"/>
                </a:lnTo>
                <a:lnTo>
                  <a:pt x="0" y="31965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17051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17625A-920B-4F50-BFB4-899B26E6D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663813"/>
              </p:ext>
            </p:extLst>
          </p:nvPr>
        </p:nvGraphicFramePr>
        <p:xfrm>
          <a:off x="1956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8" imgH="347" progId="TCLayout.ActiveDocument.1">
                  <p:embed/>
                </p:oleObj>
              </mc:Choice>
              <mc:Fallback>
                <p:oleObj name="think-cell Slide" r:id="rId7" imgW="348" imgH="34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17625A-920B-4F50-BFB4-899B26E6D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27C5A8-B17A-4880-A987-6A4A017EEC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3599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2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458138" y="4567619"/>
            <a:ext cx="11272548" cy="581698"/>
          </a:xfrm>
        </p:spPr>
        <p:txBody>
          <a:bodyPr wrap="square" lIns="118872" tIns="64008" rIns="118872" bIns="64008" anchor="t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399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Type of document</a:t>
            </a:r>
          </a:p>
          <a:p>
            <a:pPr lvl="0"/>
            <a:r>
              <a:rPr lang="en-US"/>
              <a:t>(max. two lines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458138" y="3766164"/>
            <a:ext cx="11272548" cy="627736"/>
          </a:xfrm>
        </p:spPr>
        <p:txBody>
          <a:bodyPr wrap="square" lIns="118872" tIns="64008" rIns="118872" bIns="64008" anchor="b" anchorCtr="0">
            <a:spAutoFit/>
          </a:bodyPr>
          <a:lstStyle>
            <a:lvl1pPr algn="ctr">
              <a:defRPr sz="3599" baseline="0">
                <a:latin typeface="+mj-lt"/>
                <a:sym typeface="+mn-lt"/>
              </a:defRPr>
            </a:lvl1pPr>
          </a:lstStyle>
          <a:p>
            <a:r>
              <a:rPr lang="en-US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7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300" noProof="0">
              <a:latin typeface="+mn-lt"/>
              <a:sym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8511E5-CBFA-4857-AE1E-CE68C43AC82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1121" y="675533"/>
            <a:ext cx="3126582" cy="2480544"/>
          </a:xfrm>
          <a:prstGeom prst="rect">
            <a:avLst/>
          </a:prstGeom>
        </p:spPr>
      </p:pic>
      <p:sp>
        <p:nvSpPr>
          <p:cNvPr id="16" name="Rectangle 40">
            <a:extLst>
              <a:ext uri="{FF2B5EF4-FFF2-40B4-BE49-F238E27FC236}">
                <a16:creationId xmlns:a16="http://schemas.microsoft.com/office/drawing/2014/main" id="{FF66233B-6205-49B7-AC51-BE564171C9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" y="6316665"/>
            <a:ext cx="12188826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799"/>
          </a:p>
        </p:txBody>
      </p:sp>
      <p:pic>
        <p:nvPicPr>
          <p:cNvPr id="17" name="Picture 41">
            <a:extLst>
              <a:ext uri="{FF2B5EF4-FFF2-40B4-BE49-F238E27FC236}">
                <a16:creationId xmlns:a16="http://schemas.microsoft.com/office/drawing/2014/main" id="{8A5775BF-3929-4513-83C5-4230C53505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4" y="6450171"/>
            <a:ext cx="1378779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E39FBC45-A542-4491-AFA7-40BCE07C82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42935" y="6500658"/>
            <a:ext cx="21800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1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36131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0">
            <a:extLst>
              <a:ext uri="{FF2B5EF4-FFF2-40B4-BE49-F238E27FC236}">
                <a16:creationId xmlns:a16="http://schemas.microsoft.com/office/drawing/2014/main" id="{0BB48D90-1A36-49DC-AC5E-953D94EB326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" y="6316664"/>
            <a:ext cx="1827689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A114B0BA-E0CC-4BE2-958E-5CB8FB037E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55169" y="6316664"/>
            <a:ext cx="756083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D5081CE5-5B98-4B77-ABDA-D333E6A83E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844" y="1676401"/>
            <a:ext cx="4192092" cy="330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884596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70120621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7D2871-5D17-4F57-97B7-75D0CF23BCB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65670" y="2057400"/>
            <a:ext cx="11275484" cy="1371600"/>
          </a:xfrm>
        </p:spPr>
        <p:txBody>
          <a:bodyPr/>
          <a:lstStyle>
            <a:lvl1pPr algn="ctr"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6EAC81-5750-46F0-A8D1-3FC867202E2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65670" y="3657600"/>
            <a:ext cx="11275484" cy="1981200"/>
          </a:xfrm>
        </p:spPr>
        <p:txBody>
          <a:bodyPr/>
          <a:lstStyle>
            <a:lvl1pPr marL="0" indent="0" algn="ctr">
              <a:buFont typeface="Times" pitchFamily="-110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4397442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7491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838" y="1817634"/>
            <a:ext cx="11281833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0DD9E7-CF67-ABB7-65AE-772CF4B6E48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5838" y="1252586"/>
            <a:ext cx="11281833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194811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839" y="1817634"/>
            <a:ext cx="5415457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0DD9E7-CF67-ABB7-65AE-772CF4B6E48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5839" y="1252586"/>
            <a:ext cx="5415457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AB00C5-F62C-D0E8-2133-235276B260E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0480" y="1817634"/>
            <a:ext cx="5415457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4473070-E0CC-35DB-12C9-CCC48B00467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20480" y="1252586"/>
            <a:ext cx="5415457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307970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- Op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1F00B435-990C-186C-6EEC-0847915127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7805" y="1603135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48762188-EE2E-12F8-326C-EE0D3E3CDD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5695" y="2063410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E714005-AE17-7F37-B8C9-397C32E23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7805" y="3774704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A6BA69F2-0B24-B827-5072-D3AB90F7A4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5695" y="4234979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495547F-6E22-04EE-9280-6EFA0E7242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41409" y="1603135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B65E4C-68E8-2487-4BED-63C67E6BBB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29299" y="2063410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E315848-689E-8020-8000-E17789668A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1409" y="3774704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1AB7CB1-885F-2888-D040-F05B291A86F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29299" y="4234979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FB3669A-0BF9-5732-38A1-EE91447906C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795013" y="1578083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C4CD16B-D5C6-2450-6A00-A04AE26A4B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82903" y="2038358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171A630-1CE5-BF59-E2EA-68C7EA878D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95013" y="3749652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B6B60D8-5EF3-FF63-C637-C299869DCFD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982903" y="4209927"/>
            <a:ext cx="2583803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B73B733-6478-6905-921C-44E2D2A930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2" y="231140"/>
            <a:ext cx="11413065" cy="1180553"/>
          </a:xfrm>
          <a:ln>
            <a:noFill/>
          </a:ln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able of Contents – Option 1</a:t>
            </a:r>
          </a:p>
        </p:txBody>
      </p:sp>
    </p:spTree>
    <p:extLst>
      <p:ext uri="{BB962C8B-B14F-4D97-AF65-F5344CB8AC3E}">
        <p14:creationId xmlns:p14="http://schemas.microsoft.com/office/powerpoint/2010/main" val="669703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F0FC4E-94B0-938A-860E-DDC0DAE29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839" y="1817634"/>
            <a:ext cx="3561122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6636F2-1A91-7542-BA38-0F5C30AB3EC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5839" y="1252586"/>
            <a:ext cx="3561122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B8AA8F8-2A19-23A3-E975-5E1970E516E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74815" y="1817634"/>
            <a:ext cx="3561122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B6F72A9-E537-C7E7-0B80-81AF475CCA4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74815" y="1252586"/>
            <a:ext cx="3561122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A312FDB-E3CA-722C-0C40-853DF9B4AE2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30326" y="1817634"/>
            <a:ext cx="3561122" cy="368593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64C0D6F-BF34-3563-0023-8B74A883EEA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30326" y="1252586"/>
            <a:ext cx="3561122" cy="366268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3552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A586A-8A46-F1D2-0131-5E6CB7E51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37" y="256032"/>
            <a:ext cx="112776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54807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A586A-8A46-F1D2-0131-5E6CB7E51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37" y="256032"/>
            <a:ext cx="112776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497BCB5-A112-A06D-AF83-570A21F40055}"/>
              </a:ext>
            </a:extLst>
          </p:cNvPr>
          <p:cNvSpPr/>
          <p:nvPr userDrawn="1"/>
        </p:nvSpPr>
        <p:spPr>
          <a:xfrm>
            <a:off x="-599000" y="2363570"/>
            <a:ext cx="6692118" cy="667512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04BECA-C7EA-36E0-7729-92B93CE9C729}"/>
              </a:ext>
            </a:extLst>
          </p:cNvPr>
          <p:cNvSpPr/>
          <p:nvPr userDrawn="1"/>
        </p:nvSpPr>
        <p:spPr bwMode="auto">
          <a:xfrm>
            <a:off x="1" y="6328612"/>
            <a:ext cx="885754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EE2D236-758D-336F-0F7C-8CE6E0FCBFD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5839" y="3797666"/>
            <a:ext cx="3561122" cy="366268"/>
          </a:xfrm>
        </p:spPr>
        <p:txBody>
          <a:bodyPr/>
          <a:lstStyle>
            <a:lvl1pPr marL="0" indent="0"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7D827AE-4B7A-819E-C543-D074ED1494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8916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5D4A84C1-E270-2A25-A737-B806B2A3BAF4}"/>
              </a:ext>
            </a:extLst>
          </p:cNvPr>
          <p:cNvSpPr/>
          <p:nvPr userDrawn="1"/>
        </p:nvSpPr>
        <p:spPr>
          <a:xfrm>
            <a:off x="-5817015" y="-2136535"/>
            <a:ext cx="10584716" cy="10581960"/>
          </a:xfrm>
          <a:prstGeom prst="ellips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4" tIns="45707" rIns="91414" bIns="45707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49BCB7-0B22-0E5B-A38F-A18EEF8CDD3F}"/>
              </a:ext>
            </a:extLst>
          </p:cNvPr>
          <p:cNvSpPr/>
          <p:nvPr userDrawn="1"/>
        </p:nvSpPr>
        <p:spPr bwMode="auto">
          <a:xfrm>
            <a:off x="1" y="6328612"/>
            <a:ext cx="885754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B416F1-75F7-9F9A-E389-17A1EB79C2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7733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849BCB7-0B22-0E5B-A38F-A18EEF8CDD3F}"/>
              </a:ext>
            </a:extLst>
          </p:cNvPr>
          <p:cNvSpPr/>
          <p:nvPr userDrawn="1"/>
        </p:nvSpPr>
        <p:spPr bwMode="auto">
          <a:xfrm>
            <a:off x="1" y="6328612"/>
            <a:ext cx="885754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B416F1-75F7-9F9A-E389-17A1EB79C2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  <p:grpSp>
        <p:nvGrpSpPr>
          <p:cNvPr id="3" name="Group 52">
            <a:extLst>
              <a:ext uri="{FF2B5EF4-FFF2-40B4-BE49-F238E27FC236}">
                <a16:creationId xmlns:a16="http://schemas.microsoft.com/office/drawing/2014/main" id="{B3FF85CE-9221-C104-1ADF-8849DD1EB14D}"/>
              </a:ext>
            </a:extLst>
          </p:cNvPr>
          <p:cNvGrpSpPr/>
          <p:nvPr userDrawn="1"/>
        </p:nvGrpSpPr>
        <p:grpSpPr>
          <a:xfrm>
            <a:off x="-3050809" y="152400"/>
            <a:ext cx="10466224" cy="10463494"/>
            <a:chOff x="-2650925" y="354683"/>
            <a:chExt cx="10466224" cy="1046622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AD8A0CE-996C-31BB-CA38-41A999A250F7}"/>
                </a:ext>
              </a:extLst>
            </p:cNvPr>
            <p:cNvSpPr/>
            <p:nvPr/>
          </p:nvSpPr>
          <p:spPr>
            <a:xfrm>
              <a:off x="-562729" y="2442877"/>
              <a:ext cx="6289831" cy="6289831"/>
            </a:xfrm>
            <a:prstGeom prst="ellipse">
              <a:avLst/>
            </a:prstGeom>
            <a:solidFill>
              <a:srgbClr val="0699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3199">
                <a:solidFill>
                  <a:prstClr val="white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5FE4A51-0870-B21C-739D-0461501859AF}"/>
                </a:ext>
              </a:extLst>
            </p:cNvPr>
            <p:cNvSpPr/>
            <p:nvPr/>
          </p:nvSpPr>
          <p:spPr>
            <a:xfrm>
              <a:off x="-2650925" y="354683"/>
              <a:ext cx="10466224" cy="10466220"/>
            </a:xfrm>
            <a:prstGeom prst="ellips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3199">
                <a:solidFill>
                  <a:prstClr val="white"/>
                </a:solidFill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6545DA0C-8557-6533-51AC-41CCC2488314}"/>
              </a:ext>
            </a:extLst>
          </p:cNvPr>
          <p:cNvSpPr/>
          <p:nvPr userDrawn="1"/>
        </p:nvSpPr>
        <p:spPr bwMode="auto">
          <a:xfrm>
            <a:off x="1" y="6328612"/>
            <a:ext cx="885754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BD4FD47-4CD8-8B98-979B-E094B22685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9825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5" y="1311"/>
            <a:ext cx="4088312" cy="6315319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5668" y="2535602"/>
            <a:ext cx="2642971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0304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7D2871-5D17-4F57-97B7-75D0CF23BCB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65670" y="2057400"/>
            <a:ext cx="11275484" cy="1371600"/>
          </a:xfrm>
        </p:spPr>
        <p:txBody>
          <a:bodyPr/>
          <a:lstStyle>
            <a:lvl1pPr algn="ctr"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6EAC81-5750-46F0-A8D1-3FC867202E2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92720" y="3657600"/>
            <a:ext cx="10217149" cy="1981200"/>
          </a:xfrm>
        </p:spPr>
        <p:txBody>
          <a:bodyPr/>
          <a:lstStyle>
            <a:lvl1pPr marL="0" indent="0" algn="ctr">
              <a:buFont typeface="Times" pitchFamily="-110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175796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246347"/>
              </p:ext>
            </p:extLst>
          </p:nvPr>
        </p:nvGraphicFramePr>
        <p:xfrm>
          <a:off x="1955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EB3EF5-A0CE-4F94-B964-B3C812672F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799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2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377470" y="3989974"/>
            <a:ext cx="11312434" cy="517065"/>
          </a:xfrm>
        </p:spPr>
        <p:txBody>
          <a:bodyPr wrap="square" lIns="118872" tIns="64008" rIns="118872" bIns="64008" anchor="b" anchorCtr="0">
            <a:spAutoFit/>
          </a:bodyPr>
          <a:lstStyle>
            <a:lvl1pPr marL="528479" indent="-528479" algn="l">
              <a:tabLst/>
              <a:defRPr>
                <a:solidFill>
                  <a:schemeClr val="tx1"/>
                </a:solidFill>
                <a:latin typeface="+mj-lt"/>
                <a:sym typeface="+mn-lt"/>
              </a:defRPr>
            </a:lvl1pPr>
          </a:lstStyle>
          <a:p>
            <a:r>
              <a:rPr lang="en-US"/>
              <a:t>A.	Click to edit text</a:t>
            </a:r>
            <a:endParaRPr lang="de-DE"/>
          </a:p>
        </p:txBody>
      </p:sp>
      <p:pic>
        <p:nvPicPr>
          <p:cNvPr id="18" name="Picture 41">
            <a:extLst>
              <a:ext uri="{FF2B5EF4-FFF2-40B4-BE49-F238E27FC236}">
                <a16:creationId xmlns:a16="http://schemas.microsoft.com/office/drawing/2014/main" id="{56F31139-14F2-454F-B6FD-06391AF343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6914" y="418141"/>
            <a:ext cx="2284548" cy="45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4825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8336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B0C8F7-698C-BEF4-AB9C-B2CCB878559C}"/>
              </a:ext>
            </a:extLst>
          </p:cNvPr>
          <p:cNvSpPr/>
          <p:nvPr userDrawn="1"/>
        </p:nvSpPr>
        <p:spPr bwMode="auto">
          <a:xfrm>
            <a:off x="1" y="6328612"/>
            <a:ext cx="1219199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7507066-1C22-69B3-3ED2-47FBE4FAD2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42935" y="6500658"/>
            <a:ext cx="21800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1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A1A6CB-F157-73A9-A1BF-262FDEC83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31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9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58337" y="1785600"/>
            <a:ext cx="4388400" cy="3286800"/>
          </a:xfrm>
          <a:prstGeom prst="rect">
            <a:avLst/>
          </a:prstGeom>
          <a:noFill/>
        </p:spPr>
        <p:txBody>
          <a:bodyPr wrap="square" lIns="118872" tIns="64008" rIns="118872" bIns="64008" anchor="ctr">
            <a:noAutofit/>
          </a:bodyPr>
          <a:lstStyle>
            <a:lvl1pPr>
              <a:defRPr sz="4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7DCA71-66FC-7356-93F3-4015CE4A49BB}"/>
              </a:ext>
            </a:extLst>
          </p:cNvPr>
          <p:cNvSpPr/>
          <p:nvPr userDrawn="1"/>
        </p:nvSpPr>
        <p:spPr bwMode="auto">
          <a:xfrm>
            <a:off x="1" y="6328612"/>
            <a:ext cx="1219199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6324F47-3252-4F47-DD20-BD21F1DED5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42935" y="6500658"/>
            <a:ext cx="21800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1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B55395-32FE-9A84-47CA-D0210BD0BA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160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- Opti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6E7708A-3866-EE74-EBBF-DAE1490252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64880" y="988368"/>
            <a:ext cx="3158656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27568F9-4047-1C18-0C70-8EE4FD2448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52770" y="1448643"/>
            <a:ext cx="3158656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13AE912-9DAF-29AA-F266-2AB76FBA70E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64880" y="2794647"/>
            <a:ext cx="3158656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8114308-7677-3535-6BBE-B3BA413061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52770" y="3254922"/>
            <a:ext cx="3158656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4184E1C-BE2C-3876-40C8-872F0CF9C9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4880" y="4597794"/>
            <a:ext cx="3158656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Title 1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AF93A98-259E-79DD-CF81-FE795FD53E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052770" y="5058069"/>
            <a:ext cx="3158656" cy="1077218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A5248B5-E7F3-9563-9670-1C052A91D8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3823" y="231140"/>
            <a:ext cx="6202237" cy="1180553"/>
          </a:xfrm>
          <a:ln>
            <a:noFill/>
          </a:ln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able of Contents – Option 2</a:t>
            </a:r>
          </a:p>
        </p:txBody>
      </p:sp>
    </p:spTree>
    <p:extLst>
      <p:ext uri="{BB962C8B-B14F-4D97-AF65-F5344CB8AC3E}">
        <p14:creationId xmlns:p14="http://schemas.microsoft.com/office/powerpoint/2010/main" val="3026970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1" cy="632046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5201" y="1581473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1"/>
                </a:solidFill>
                <a:latin typeface="+mn-lt"/>
                <a:sym typeface="Trebuchet MS" panose="020B0603020202020204" pitchFamily="34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B3CA2B6-E3FA-2AB8-4A66-DA5957380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37" y="256032"/>
            <a:ext cx="37440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5449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HorizontalLine10">
            <a:extLst>
              <a:ext uri="{FF2B5EF4-FFF2-40B4-BE49-F238E27FC236}">
                <a16:creationId xmlns:a16="http://schemas.microsoft.com/office/drawing/2014/main" id="{87F0FFCB-6D19-9B3F-691A-F908A261466F}"/>
              </a:ext>
            </a:extLst>
          </p:cNvPr>
          <p:cNvCxnSpPr>
            <a:cxnSpLocks/>
          </p:cNvCxnSpPr>
          <p:nvPr userDrawn="1"/>
        </p:nvCxnSpPr>
        <p:spPr>
          <a:xfrm>
            <a:off x="1" y="3429000"/>
            <a:ext cx="12192000" cy="0"/>
          </a:xfrm>
          <a:prstGeom prst="line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3" name="HorizontalLine10">
            <a:extLst>
              <a:ext uri="{FF2B5EF4-FFF2-40B4-BE49-F238E27FC236}">
                <a16:creationId xmlns:a16="http://schemas.microsoft.com/office/drawing/2014/main" id="{32051486-ED05-5D84-B6BA-905695831FE7}"/>
              </a:ext>
            </a:extLst>
          </p:cNvPr>
          <p:cNvCxnSpPr>
            <a:cxnSpLocks/>
          </p:cNvCxnSpPr>
          <p:nvPr userDrawn="1"/>
        </p:nvCxnSpPr>
        <p:spPr>
          <a:xfrm>
            <a:off x="6095999" y="0"/>
            <a:ext cx="0" cy="6096000"/>
          </a:xfrm>
          <a:prstGeom prst="line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A779DDB-04CB-07AF-63B8-665CD9325D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3255777"/>
            <a:ext cx="1556853" cy="34644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1C38CAC-0C60-C950-FBFA-A5EE8C0D91E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0635147" y="3255777"/>
            <a:ext cx="1556853" cy="346447"/>
          </a:xfrm>
          <a:solidFill>
            <a:schemeClr val="bg1"/>
          </a:solidFill>
        </p:spPr>
        <p:txBody>
          <a:bodyPr/>
          <a:lstStyle>
            <a:lvl1pPr marL="0" indent="0" algn="r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2FCBD84-BA9B-AA8C-3B6D-F371386A5F6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317573" y="1"/>
            <a:ext cx="1556853" cy="346447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C2BB129-070F-4183-8A23-EA2726D5344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317573" y="5922777"/>
            <a:ext cx="1556853" cy="346447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52410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D02CA6-782E-1B34-16E5-E92DEC76CFA2}"/>
              </a:ext>
            </a:extLst>
          </p:cNvPr>
          <p:cNvSpPr/>
          <p:nvPr userDrawn="1"/>
        </p:nvSpPr>
        <p:spPr bwMode="auto">
          <a:xfrm>
            <a:off x="1" y="6328612"/>
            <a:ext cx="1219199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2051511F-9692-6F8B-566F-ED101CC703F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42935" y="6500658"/>
            <a:ext cx="21800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1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C49A28-27B0-CAA8-9A01-54DC020F79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8751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42558B-7085-7622-CBB2-B16FF14FB6FB}"/>
              </a:ext>
            </a:extLst>
          </p:cNvPr>
          <p:cNvSpPr/>
          <p:nvPr userDrawn="1"/>
        </p:nvSpPr>
        <p:spPr bwMode="auto">
          <a:xfrm>
            <a:off x="1" y="6328612"/>
            <a:ext cx="12191999" cy="461665"/>
          </a:xfrm>
          <a:prstGeom prst="rect">
            <a:avLst/>
          </a:prstGeom>
          <a:solidFill>
            <a:srgbClr val="BFBFB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0" charset="0"/>
            </a:endParaRP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6FB6CF0F-47A2-E335-F39F-89D22763D28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42935" y="6500658"/>
            <a:ext cx="21800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1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EF8A99-28EF-08CF-1057-2BBD3BA2D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6" y="6450871"/>
            <a:ext cx="1395948" cy="2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8804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C17A56D-8266-4E5F-8AEF-E003226E39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895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8" imgH="328" progId="TCLayout.ActiveDocument.1">
                  <p:embed/>
                </p:oleObj>
              </mc:Choice>
              <mc:Fallback>
                <p:oleObj name="think-cell Slide" r:id="rId4" imgW="328" imgH="3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C17A56D-8266-4E5F-8AEF-E003226E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B7513E-C144-43B7-9D4B-0230EDF642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 cmpd="sng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28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CB48E-1694-4D05-8351-B3946AC52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7180" y="1312693"/>
            <a:ext cx="11123536" cy="130035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CC3D654-F8F9-4509-AED8-B1A1F2C05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180" y="368766"/>
            <a:ext cx="11123536" cy="775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18907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2A7571-4F23-4023-A0B8-43BE2686F8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48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2A7571-4F23-4023-A0B8-43BE2686F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40">
            <a:extLst>
              <a:ext uri="{FF2B5EF4-FFF2-40B4-BE49-F238E27FC236}">
                <a16:creationId xmlns:a16="http://schemas.microsoft.com/office/drawing/2014/main" id="{CD70DFB0-C22A-42A8-8C88-747DB357A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66FA30-3F09-446C-9688-4C2D1CD6E3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</p:spPr>
        <p:txBody>
          <a:bodyPr/>
          <a:lstStyle/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FD63DE-148F-4C5C-A21B-E6F5579B4F99}"/>
              </a:ext>
            </a:extLst>
          </p:cNvPr>
          <p:cNvSpPr txBox="1"/>
          <p:nvPr/>
        </p:nvSpPr>
        <p:spPr>
          <a:xfrm>
            <a:off x="5249615" y="6499490"/>
            <a:ext cx="1692771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800" b="0" noProof="0">
                <a:solidFill>
                  <a:srgbClr val="FF0000"/>
                </a:solidFill>
                <a:latin typeface="+mn-lt"/>
                <a:cs typeface="Arial Narrow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574528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2A7571-4F23-4023-A0B8-43BE2686F8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48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2A7571-4F23-4023-A0B8-43BE2686F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40">
            <a:extLst>
              <a:ext uri="{FF2B5EF4-FFF2-40B4-BE49-F238E27FC236}">
                <a16:creationId xmlns:a16="http://schemas.microsoft.com/office/drawing/2014/main" id="{CD70DFB0-C22A-42A8-8C88-747DB357A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6" name="Picture 41">
            <a:extLst>
              <a:ext uri="{FF2B5EF4-FFF2-40B4-BE49-F238E27FC236}">
                <a16:creationId xmlns:a16="http://schemas.microsoft.com/office/drawing/2014/main" id="{C3E7F766-F63A-1664-8E5A-84D048A358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6451997"/>
            <a:ext cx="1390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Download National Grid plc Logo in SVG Vector or PNG File Format - Logo ...">
            <a:extLst>
              <a:ext uri="{FF2B5EF4-FFF2-40B4-BE49-F238E27FC236}">
                <a16:creationId xmlns:a16="http://schemas.microsoft.com/office/drawing/2014/main" id="{47F8C840-CE5E-2BAD-EF7B-C56953FC161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0" t="35358" r="8255" b="39358"/>
          <a:stretch/>
        </p:blipFill>
        <p:spPr bwMode="auto">
          <a:xfrm>
            <a:off x="1940179" y="6451997"/>
            <a:ext cx="1369257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185407F3-3FEE-8D3D-3388-A04E1A2FE1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00317" y="6440488"/>
            <a:ext cx="751416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8AA41DF-A302-4D77-B914-87AC36813EDE}" type="slidenum">
              <a:rPr lang="en-US" altLang="en-US" sz="140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4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664804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F425B2B1-45E8-4BCF-8ABA-47FCB91F9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08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5667" y="2057400"/>
            <a:ext cx="11275484" cy="1371600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8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2718" y="3657600"/>
            <a:ext cx="10217149" cy="1981200"/>
          </a:xfrm>
        </p:spPr>
        <p:txBody>
          <a:bodyPr/>
          <a:lstStyle>
            <a:lvl1pPr marL="0" indent="0" algn="ctr">
              <a:buFont typeface="Times" pitchFamily="-110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D7A1C98-FD2B-4A21-8BD0-31081D72771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1">
            <a:extLst>
              <a:ext uri="{FF2B5EF4-FFF2-40B4-BE49-F238E27FC236}">
                <a16:creationId xmlns:a16="http://schemas.microsoft.com/office/drawing/2014/main" id="{782273BE-2B44-4DC5-99DD-9C10B68814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6454775"/>
            <a:ext cx="1390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C298BC-9CCB-4B8C-ACCC-80C228BF4E31}"/>
              </a:ext>
            </a:extLst>
          </p:cNvPr>
          <p:cNvSpPr txBox="1"/>
          <p:nvPr/>
        </p:nvSpPr>
        <p:spPr>
          <a:xfrm>
            <a:off x="5249615" y="6499490"/>
            <a:ext cx="1692771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800" b="0" noProof="0">
                <a:solidFill>
                  <a:srgbClr val="FF0000"/>
                </a:solidFill>
                <a:latin typeface="+mn-lt"/>
                <a:cs typeface="Arial Narrow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89503313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47E762-88A8-4D4F-800C-74071045A2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41337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47E762-88A8-4D4F-800C-74071045A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1D3A20C-DED5-490A-BAB7-E549541E905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7319" y="1"/>
            <a:ext cx="246308" cy="46166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ＭＳ Ｐゴシック" panose="020B0600070205080204" pitchFamily="34" charset="-128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83A733-9ED9-4C23-A47D-98B295314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0238D21-9ABD-0138-4412-7FCB7BE854D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032503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51" y="1490663"/>
            <a:ext cx="5539316" cy="44497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6067" y="1490663"/>
            <a:ext cx="5539317" cy="44497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FD98455-E75C-4316-B7D0-F9348D69F92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54773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7C02371-5FA9-284E-D218-FF049B5095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1316" y="488888"/>
            <a:ext cx="11175572" cy="516048"/>
          </a:xfrm>
        </p:spPr>
        <p:txBody>
          <a:bodyPr>
            <a:normAutofit lnSpcReduction="10000"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823B238-F1CD-4ADD-F3C9-A28B8D72C8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7805" y="1367752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1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D3F20E1-258B-E8A9-8D31-3230C2ED59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5695" y="1828027"/>
            <a:ext cx="5524281" cy="1702832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769AD15-CDD6-BC49-DA3A-4F681F6182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7805" y="3876342"/>
            <a:ext cx="2771693" cy="435223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Section 1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647507F2-1F9E-F001-79F1-60B25F0A53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5695" y="4336617"/>
            <a:ext cx="5524281" cy="1530036"/>
          </a:xfrm>
        </p:spPr>
        <p:txBody>
          <a:bodyPr>
            <a:normAutofit/>
          </a:bodyPr>
          <a:lstStyle>
            <a:lvl1pPr marL="0" indent="-285750">
              <a:spcBef>
                <a:spcPts val="0"/>
              </a:spcBef>
              <a:buFont typeface="Arial" panose="020B0604020202020204" pitchFamily="34" charset="0"/>
              <a:buChar char="•"/>
              <a:defRPr sz="1800" b="0"/>
            </a:lvl1pPr>
          </a:lstStyle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  <a:p>
            <a:r>
              <a:rPr lang="en-US">
                <a:effectLst/>
                <a:latin typeface="Arial" panose="020B0604020202020204" pitchFamily="34" charset="0"/>
              </a:rPr>
              <a:t>Contents Here</a:t>
            </a:r>
          </a:p>
        </p:txBody>
      </p:sp>
    </p:spTree>
    <p:extLst>
      <p:ext uri="{BB962C8B-B14F-4D97-AF65-F5344CB8AC3E}">
        <p14:creationId xmlns:p14="http://schemas.microsoft.com/office/powerpoint/2010/main" val="2427416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78918A-0B2B-4D1B-A054-5F67A40D6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43130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41">
            <a:extLst>
              <a:ext uri="{FF2B5EF4-FFF2-40B4-BE49-F238E27FC236}">
                <a16:creationId xmlns:a16="http://schemas.microsoft.com/office/drawing/2014/main" id="{46D7E95A-06C5-CED6-EDCF-F67C0F60E0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23" y="6454743"/>
            <a:ext cx="1756105" cy="265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078243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41">
            <a:extLst>
              <a:ext uri="{FF2B5EF4-FFF2-40B4-BE49-F238E27FC236}">
                <a16:creationId xmlns:a16="http://schemas.microsoft.com/office/drawing/2014/main" id="{3522A71E-C5D4-82EB-5AAA-27CFDE8DAC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6451997"/>
            <a:ext cx="1390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308758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025AD992-F951-4B7A-AFD9-2D2601843E4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10776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160EC3DC-8B14-41D6-92FB-DE20F054B51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763145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25984" y="342901"/>
            <a:ext cx="2819400" cy="5597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3552" y="342901"/>
            <a:ext cx="8259233" cy="5597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84CEBA61-EA00-4EF9-B5DC-B505201E208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CE638F-3F0F-4F9D-BBA1-438ED2C0E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941342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3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19291374-9436-46CD-B73D-692AAE2FCDE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4734" y="6270154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9F2D7D1-FF0D-40C2-8A6A-C5C94BB051C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674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3419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78CF"/>
              </a:gs>
              <a:gs pos="100000">
                <a:srgbClr val="005A9B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5668" y="1785600"/>
            <a:ext cx="422656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399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224A3FF0-CC81-4152-AFCA-2AE870607D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00317" y="6440488"/>
            <a:ext cx="751416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8AA41DF-A302-4D77-B914-87AC36813EDE}" type="slidenum">
              <a:rPr lang="en-US" altLang="en-US" sz="140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4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146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78CF"/>
              </a:gs>
              <a:gs pos="100000">
                <a:srgbClr val="005A9B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5667" y="1785600"/>
            <a:ext cx="422656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224A3FF0-CC81-4152-AFCA-2AE870607D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00317" y="6440488"/>
            <a:ext cx="751416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8AA41DF-A302-4D77-B914-87AC36813EDE}" type="slidenum">
              <a:rPr lang="en-US" altLang="en-US" sz="140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4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861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in (Digi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0CFBD85-828F-9F03-3D4F-CBAF167A9451}"/>
              </a:ext>
            </a:extLst>
          </p:cNvPr>
          <p:cNvCxnSpPr>
            <a:cxnSpLocks/>
          </p:cNvCxnSpPr>
          <p:nvPr userDrawn="1"/>
        </p:nvCxnSpPr>
        <p:spPr>
          <a:xfrm>
            <a:off x="1585377" y="3684532"/>
            <a:ext cx="694804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040FB04-207E-02C5-1C2C-C9EDBFCA10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4624" y="3847270"/>
            <a:ext cx="6556376" cy="2081089"/>
          </a:xfrm>
          <a:ln>
            <a:noFill/>
          </a:ln>
        </p:spPr>
        <p:txBody>
          <a:bodyPr anchor="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48592A-AABE-106B-2415-175E111347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4624" y="2682815"/>
            <a:ext cx="8613775" cy="838979"/>
          </a:xfrm>
          <a:ln>
            <a:noFill/>
          </a:ln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title (Title Slide)</a:t>
            </a:r>
          </a:p>
        </p:txBody>
      </p:sp>
    </p:spTree>
    <p:extLst>
      <p:ext uri="{BB962C8B-B14F-4D97-AF65-F5344CB8AC3E}">
        <p14:creationId xmlns:p14="http://schemas.microsoft.com/office/powerpoint/2010/main" val="3203878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24BBCE8-55D7-4501-B8CD-E650D85D3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37" y="256032"/>
            <a:ext cx="112776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8779333-1DEA-4841-AC68-98A29968A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838" y="1371608"/>
            <a:ext cx="11281833" cy="4449763"/>
          </a:xfrm>
        </p:spPr>
        <p:txBody>
          <a:bodyPr/>
          <a:lstStyle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7868948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1308"/>
            <a:ext cx="4694401" cy="632046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5202" y="1581474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1"/>
                </a:solidFill>
                <a:latin typeface="+mn-lt"/>
                <a:sym typeface="Trebuchet MS" panose="020B0603020202020204" pitchFamily="34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B3CA2B6-E3FA-2AB8-4A66-DA5957380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37" y="256032"/>
            <a:ext cx="37440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471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15">
          <p15:clr>
            <a:srgbClr val="FBAE40"/>
          </p15:clr>
        </p15:guide>
        <p15:guide id="2" pos="682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ChangeArrowheads="1"/>
          </p:cNvSpPr>
          <p:nvPr userDrawn="1"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020535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5" name="Picture 4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0" y="6454776"/>
            <a:ext cx="1854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8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5667" y="2057400"/>
            <a:ext cx="11275484" cy="1371600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8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2718" y="3657600"/>
            <a:ext cx="10217149" cy="1981200"/>
          </a:xfrm>
        </p:spPr>
        <p:txBody>
          <a:bodyPr/>
          <a:lstStyle>
            <a:lvl1pPr marL="0" indent="0" algn="ctr">
              <a:buFont typeface="Times" pitchFamily="-110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0F5060-9157-42CE-BA7F-A783AF8E9A9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9931081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67DF8-A32D-40FB-AF72-2C51664AC2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6585083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51" y="1490663"/>
            <a:ext cx="5539316" cy="4449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6067" y="1490663"/>
            <a:ext cx="5539317" cy="4449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BDCDD4-166E-49BC-A7A2-588B9184FB8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4797615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ED397-0288-4A54-A916-0CBAB198517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336654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9708A2-EE71-47B8-9E24-A7B2490D00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8208817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F4AE1D-1174-4CF7-931F-3C7E6D5FB5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32165987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25984" y="342901"/>
            <a:ext cx="2819400" cy="5597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3552" y="342901"/>
            <a:ext cx="8259233" cy="5597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5C7D82-560B-4E21-B6BC-EDBBF3F372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158123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in (Print)">
    <p:bg>
      <p:bgPr>
        <a:solidFill>
          <a:schemeClr val="tx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0CFBD85-828F-9F03-3D4F-CBAF167A9451}"/>
              </a:ext>
            </a:extLst>
          </p:cNvPr>
          <p:cNvCxnSpPr>
            <a:cxnSpLocks/>
          </p:cNvCxnSpPr>
          <p:nvPr userDrawn="1"/>
        </p:nvCxnSpPr>
        <p:spPr>
          <a:xfrm>
            <a:off x="1585377" y="3684532"/>
            <a:ext cx="694804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040FB04-207E-02C5-1C2C-C9EDBFCA10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4624" y="3847270"/>
            <a:ext cx="6556376" cy="2081089"/>
          </a:xfrm>
          <a:ln>
            <a:noFill/>
          </a:ln>
        </p:spPr>
        <p:txBody>
          <a:bodyPr anchor="t">
            <a:normAutofit/>
          </a:bodyPr>
          <a:lstStyle>
            <a:lvl1pPr>
              <a:defRPr sz="2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48592A-AABE-106B-2415-175E111347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4625" y="2682815"/>
            <a:ext cx="8510258" cy="838979"/>
          </a:xfrm>
          <a:ln>
            <a:noFill/>
          </a:ln>
        </p:spPr>
        <p:txBody>
          <a:bodyPr anchor="b">
            <a:normAutofit/>
          </a:bodyPr>
          <a:lstStyle>
            <a:lvl1pPr>
              <a:defRPr sz="4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title (Title Slide) </a:t>
            </a:r>
          </a:p>
        </p:txBody>
      </p:sp>
    </p:spTree>
    <p:extLst>
      <p:ext uri="{BB962C8B-B14F-4D97-AF65-F5344CB8AC3E}">
        <p14:creationId xmlns:p14="http://schemas.microsoft.com/office/powerpoint/2010/main" val="1316915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0">
            <a:extLst>
              <a:ext uri="{FF2B5EF4-FFF2-40B4-BE49-F238E27FC236}">
                <a16:creationId xmlns:a16="http://schemas.microsoft.com/office/drawing/2014/main" id="{0BB48D90-1A36-49DC-AC5E-953D94EB326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" y="6316666"/>
            <a:ext cx="1827689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350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A114B0BA-E0CC-4BE2-958E-5CB8FB037E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55169" y="6316666"/>
            <a:ext cx="756083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35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D5081CE5-5B98-4B77-ABDA-D333E6A83E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845" y="1676403"/>
            <a:ext cx="4192092" cy="330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154745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7D2871-5D17-4F57-97B7-75D0CF23BCB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65671" y="2057400"/>
            <a:ext cx="11275484" cy="1371600"/>
          </a:xfrm>
        </p:spPr>
        <p:txBody>
          <a:bodyPr/>
          <a:lstStyle>
            <a:lvl1pPr algn="ctr">
              <a:defRPr sz="26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6EAC81-5750-46F0-A8D1-3FC867202E2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92720" y="3657600"/>
            <a:ext cx="10217149" cy="1981200"/>
          </a:xfrm>
        </p:spPr>
        <p:txBody>
          <a:bodyPr/>
          <a:lstStyle>
            <a:lvl1pPr marL="0" indent="0" algn="ctr">
              <a:buFont typeface="Times" pitchFamily="-110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650340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486" y="-1"/>
            <a:ext cx="10974916" cy="594937"/>
          </a:xfrm>
          <a:prstGeom prst="rect">
            <a:avLst/>
          </a:prstGeom>
        </p:spPr>
        <p:txBody>
          <a:bodyPr lIns="0" tIns="274320" rIns="0" bIns="0" anchor="b"/>
          <a:lstStyle>
            <a:lvl1pPr marL="0" indent="0">
              <a:buNone/>
              <a:defRPr sz="1800" b="1"/>
            </a:lvl1pPr>
            <a:lvl2pPr marL="342889" indent="0">
              <a:buNone/>
              <a:defRPr sz="1500" b="1"/>
            </a:lvl2pPr>
            <a:lvl3pPr marL="685777" indent="0">
              <a:buNone/>
              <a:defRPr sz="1350" b="1"/>
            </a:lvl3pPr>
            <a:lvl4pPr marL="1028666" indent="0">
              <a:buNone/>
              <a:defRPr sz="1200" b="1"/>
            </a:lvl4pPr>
            <a:lvl5pPr marL="1371554" indent="0">
              <a:buNone/>
              <a:defRPr sz="1200" b="1"/>
            </a:lvl5pPr>
            <a:lvl6pPr marL="1714443" indent="0">
              <a:buNone/>
              <a:defRPr sz="1200" b="1"/>
            </a:lvl6pPr>
            <a:lvl7pPr marL="2057331" indent="0">
              <a:buNone/>
              <a:defRPr sz="1200" b="1"/>
            </a:lvl7pPr>
            <a:lvl8pPr marL="2400220" indent="0">
              <a:buNone/>
              <a:defRPr sz="1200" b="1"/>
            </a:lvl8pPr>
            <a:lvl9pPr marL="274310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609600" y="572528"/>
            <a:ext cx="10972800" cy="3815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00" b="0" i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07483" y="1028703"/>
            <a:ext cx="10974916" cy="5246221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3491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3264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der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829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image" Target="../media/image6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tags" Target="../tags/tag2.xml"/><Relationship Id="rId30" Type="http://schemas.openxmlformats.org/officeDocument/2006/relationships/image" Target="../media/image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F2DF163-DCC0-BD74-D003-EE77294F325A}"/>
              </a:ext>
            </a:extLst>
          </p:cNvPr>
          <p:cNvSpPr/>
          <p:nvPr userDrawn="1"/>
        </p:nvSpPr>
        <p:spPr>
          <a:xfrm>
            <a:off x="0" y="6432549"/>
            <a:ext cx="12191999" cy="425451"/>
          </a:xfrm>
          <a:prstGeom prst="rect">
            <a:avLst/>
          </a:prstGeom>
          <a:solidFill>
            <a:srgbClr val="F2F2F2"/>
          </a:solidFill>
          <a:ln w="6350">
            <a:solidFill>
              <a:srgbClr val="45454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C51B7A7-7B2C-4439-8018-3162464FC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862" y="243840"/>
            <a:ext cx="11757037" cy="5777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096857-B7B8-58D6-F570-0F936CDAEC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1" y="926592"/>
            <a:ext cx="11448400" cy="54877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11A8F0F-B260-ADD3-3EFB-D2AC40B64175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38396" y="6551410"/>
            <a:ext cx="951814" cy="22270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3A5FD3E-76D8-7EBF-1469-EEC831B7C349}"/>
              </a:ext>
            </a:extLst>
          </p:cNvPr>
          <p:cNvSpPr txBox="1"/>
          <p:nvPr userDrawn="1"/>
        </p:nvSpPr>
        <p:spPr>
          <a:xfrm>
            <a:off x="11718792" y="6523871"/>
            <a:ext cx="3740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0561BE6-D15C-764D-9FB2-8677CBC68966}" type="slidenum">
              <a:rPr lang="en-US" sz="1100" smtClean="0">
                <a:solidFill>
                  <a:srgbClr val="101010"/>
                </a:solidFill>
              </a:rPr>
              <a:pPr algn="r"/>
              <a:t>‹#›</a:t>
            </a:fld>
            <a:endParaRPr lang="en-US" sz="1100">
              <a:solidFill>
                <a:srgbClr val="10101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8C253D-2665-5A9B-015D-AB1AF9CE511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27675" y="6459220"/>
            <a:ext cx="1200150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0073CF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012160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  <p:sldLayoutId id="2147483718" r:id="rId2"/>
    <p:sldLayoutId id="2147483754" r:id="rId3"/>
    <p:sldLayoutId id="2147483690" r:id="rId4"/>
    <p:sldLayoutId id="2147483708" r:id="rId5"/>
    <p:sldLayoutId id="2147483759" r:id="rId6"/>
    <p:sldLayoutId id="2147483687" r:id="rId7"/>
    <p:sldLayoutId id="2147483756" r:id="rId8"/>
    <p:sldLayoutId id="2147483688" r:id="rId9"/>
    <p:sldLayoutId id="2147483689" r:id="rId10"/>
    <p:sldLayoutId id="2147483719" r:id="rId11"/>
    <p:sldLayoutId id="2147483752" r:id="rId12"/>
    <p:sldLayoutId id="2147483686" r:id="rId13"/>
    <p:sldLayoutId id="2147483758" r:id="rId14"/>
    <p:sldLayoutId id="2147483710" r:id="rId15"/>
    <p:sldLayoutId id="2147483707" r:id="rId16"/>
    <p:sldLayoutId id="2147483717" r:id="rId17"/>
    <p:sldLayoutId id="2147483757" r:id="rId18"/>
    <p:sldLayoutId id="2147483700" r:id="rId19"/>
    <p:sldLayoutId id="2147483701" r:id="rId20"/>
    <p:sldLayoutId id="2147483728" r:id="rId21"/>
    <p:sldLayoutId id="2147483726" r:id="rId22"/>
    <p:sldLayoutId id="2147483727" r:id="rId23"/>
    <p:sldLayoutId id="2147483729" r:id="rId24"/>
    <p:sldLayoutId id="2147483711" r:id="rId25"/>
    <p:sldLayoutId id="2147483722" r:id="rId26"/>
    <p:sldLayoutId id="2147483720" r:id="rId27"/>
    <p:sldLayoutId id="2147483704" r:id="rId28"/>
    <p:sldLayoutId id="2147483755" r:id="rId29"/>
    <p:sldLayoutId id="2147483724" r:id="rId3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8B9EC5-D476-04A7-018A-B1E963BDF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134136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04" imgH="204" progId="TCLayout.ActiveDocument.1">
                  <p:embed/>
                </p:oleObj>
              </mc:Choice>
              <mc:Fallback>
                <p:oleObj name="think-cell Slide" r:id="rId28" imgW="204" imgH="20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8B9EC5-D476-04A7-018A-B1E963BDF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0"/>
          <p:cNvSpPr>
            <a:spLocks noChangeArrowheads="1"/>
          </p:cNvSpPr>
          <p:nvPr userDrawn="1"/>
        </p:nvSpPr>
        <p:spPr bwMode="auto">
          <a:xfrm>
            <a:off x="-1" y="6316664"/>
            <a:ext cx="12192001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0"/>
              </a:spcBef>
              <a:defRPr/>
            </a:pPr>
            <a:endParaRPr lang="en-US" sz="180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8337" y="256032"/>
            <a:ext cx="1127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725" tIns="60862" rIns="121725" bIns="60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5838" y="1371608"/>
            <a:ext cx="11281833" cy="444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725" tIns="60862" rIns="121725" bIns="60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ChangeAspect="1"/>
          </p:cNvSpPr>
          <p:nvPr userDrawn="1"/>
        </p:nvSpPr>
        <p:spPr>
          <a:xfrm>
            <a:off x="11355172" y="6433444"/>
            <a:ext cx="4041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C7F194-47C9-624C-BD23-0EDC61CB60A4}" type="slidenum">
              <a:rPr lang="en-US" sz="1400" smtClean="0"/>
              <a:pPr/>
              <a:t>‹#›</a:t>
            </a:fld>
            <a:endParaRPr lang="en-US" sz="1400"/>
          </a:p>
        </p:txBody>
      </p:sp>
      <p:pic>
        <p:nvPicPr>
          <p:cNvPr id="10" name="Picture 41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12" y="6450171"/>
            <a:ext cx="1379138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A479D1D-D207-E4E8-4F04-126D6772B0E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27675" y="6459220"/>
            <a:ext cx="1200150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0073C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custDataLst>
      <p:tags r:id="rId26"/>
    </p:custDataLst>
    <p:extLst>
      <p:ext uri="{BB962C8B-B14F-4D97-AF65-F5344CB8AC3E}">
        <p14:creationId xmlns:p14="http://schemas.microsoft.com/office/powerpoint/2010/main" val="273000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</p:sldLayoutIdLst>
  <p:transition/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5pPr>
      <a:lvl6pPr marL="6086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</a:defRPr>
      </a:lvl6pPr>
      <a:lvl7pPr marL="121724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</a:defRPr>
      </a:lvl7pPr>
      <a:lvl8pPr marL="18258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</a:defRPr>
      </a:lvl8pPr>
      <a:lvl9pPr marL="24344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 Black" pitchFamily="-110" charset="0"/>
        </a:defRPr>
      </a:lvl9pPr>
    </p:titleStyle>
    <p:bodyStyle>
      <a:lvl1pPr marL="304312" indent="-304312" algn="l" rtl="0" eaLnBrk="1" fontAlgn="base" hangingPunct="1">
        <a:spcBef>
          <a:spcPts val="1200"/>
        </a:spcBef>
        <a:spcAft>
          <a:spcPct val="0"/>
        </a:spcAft>
        <a:buClr>
          <a:srgbClr val="0790EC"/>
        </a:buClr>
        <a:buSzPct val="125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834746" indent="-378278" algn="l" rtl="0" eaLnBrk="1" fontAlgn="base" hangingPunct="1">
        <a:spcBef>
          <a:spcPts val="600"/>
        </a:spcBef>
        <a:spcAft>
          <a:spcPct val="0"/>
        </a:spcAft>
        <a:buClr>
          <a:srgbClr val="0790EC"/>
        </a:buClr>
        <a:buSzPct val="130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</a:defRPr>
      </a:lvl2pPr>
      <a:lvl3pPr marL="1217249" indent="-230348" algn="l" rtl="0" eaLnBrk="1" fontAlgn="base" hangingPunct="1">
        <a:spcBef>
          <a:spcPts val="600"/>
        </a:spcBef>
        <a:spcAft>
          <a:spcPct val="0"/>
        </a:spcAft>
        <a:buClr>
          <a:srgbClr val="0790EC"/>
        </a:buClr>
        <a:buSzPct val="110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</a:defRPr>
      </a:lvl3pPr>
      <a:lvl4pPr marL="1680058" indent="-310653" algn="l" rtl="0" eaLnBrk="1" fontAlgn="base" hangingPunct="1">
        <a:spcBef>
          <a:spcPts val="600"/>
        </a:spcBef>
        <a:spcAft>
          <a:spcPct val="0"/>
        </a:spcAft>
        <a:buClr>
          <a:srgbClr val="0790EC"/>
        </a:buClr>
        <a:buSzPct val="110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</a:defRPr>
      </a:lvl4pPr>
      <a:lvl5pPr marL="2051996" indent="-219781" algn="l" rtl="0" eaLnBrk="1" fontAlgn="base" hangingPunct="1">
        <a:spcBef>
          <a:spcPts val="600"/>
        </a:spcBef>
        <a:spcAft>
          <a:spcPct val="0"/>
        </a:spcAft>
        <a:buClr>
          <a:srgbClr val="0790EC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</a:defRPr>
      </a:lvl5pPr>
      <a:lvl6pPr marL="2660620" indent="-219781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6pPr>
      <a:lvl7pPr marL="3269245" indent="-219781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7pPr>
      <a:lvl8pPr marL="3877869" indent="-219781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8pPr>
      <a:lvl9pPr marL="4486494" indent="-219781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625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249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874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4499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3123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1748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0372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8997" algn="l" defTabSz="6086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BDCA0A6-117B-47D5-AAEC-CCA27313DAD8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3651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4" imgH="345" progId="TCLayout.ActiveDocument.1">
                  <p:embed/>
                </p:oleObj>
              </mc:Choice>
              <mc:Fallback>
                <p:oleObj name="think-cell Slide" r:id="rId21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BDCA0A6-117B-47D5-AAEC-CCA27313D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C5F2BC4-AF90-48F1-A6AC-5FDF1C0C89A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ＭＳ Ｐゴシック" panose="020B0600070205080204" pitchFamily="34" charset="-128"/>
              <a:sym typeface="Arial Black" panose="020B0A04020102020204" pitchFamily="34" charset="0"/>
            </a:endParaRPr>
          </a:p>
        </p:txBody>
      </p:sp>
      <p:sp>
        <p:nvSpPr>
          <p:cNvPr id="1029" name="Rectangle 40">
            <a:extLst>
              <a:ext uri="{FF2B5EF4-FFF2-40B4-BE49-F238E27FC236}">
                <a16:creationId xmlns:a16="http://schemas.microsoft.com/office/drawing/2014/main" id="{BAF0978B-656C-4647-90DA-93F7E4D3E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rgbClr val="BFBF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0"/>
              </a:spcBef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19B7A238-BFA8-410E-A86B-821DD48C72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42900"/>
            <a:ext cx="11277600" cy="1074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D4F193A-1065-47A3-BF90-8857CBCE4FB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5084" y="1490663"/>
            <a:ext cx="11281833" cy="444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1C0A45-622F-9568-CEC8-734BA38083A8}"/>
              </a:ext>
            </a:extLst>
          </p:cNvPr>
          <p:cNvSpPr>
            <a:spLocks noChangeAspect="1"/>
          </p:cNvSpPr>
          <p:nvPr userDrawn="1"/>
        </p:nvSpPr>
        <p:spPr>
          <a:xfrm>
            <a:off x="11355172" y="6433444"/>
            <a:ext cx="4041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C7F194-47C9-624C-BD23-0EDC61CB60A4}" type="slidenum">
              <a:rPr lang="en-US" sz="1400" smtClean="0"/>
              <a:pPr/>
              <a:t>‹#›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91182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</p:sldLayoutIdLst>
  <p:transition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SzPct val="125000"/>
        <a:buFont typeface="Times" panose="02020603050405020304" pitchFamily="18" charset="0"/>
        <a:buChar char="•"/>
        <a:defRPr sz="20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627063" indent="-284163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SzPct val="130000"/>
        <a:buFont typeface="Times" panose="02020603050405020304" pitchFamily="18" charset="0"/>
        <a:buChar char="–"/>
        <a:defRPr sz="1800"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2pPr>
      <a:lvl3pPr marL="914400" indent="-173038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SzPct val="110000"/>
        <a:buFont typeface="Times" panose="02020603050405020304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3pPr>
      <a:lvl4pPr marL="1262063" indent="-233363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SzPct val="110000"/>
        <a:buFont typeface="Times" panose="02020603050405020304" pitchFamily="18" charset="0"/>
        <a:buChar char="–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4pPr>
      <a:lvl5pPr marL="1541463" indent="-1651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anose="02020603050405020304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5pPr>
      <a:lvl6pPr marL="1998663" indent="-1651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6pPr>
      <a:lvl7pPr marL="2455863" indent="-1651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7pPr>
      <a:lvl8pPr marL="2913063" indent="-1651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8pPr>
      <a:lvl9pPr marL="3370263" indent="-165100" algn="l" rtl="0" eaLnBrk="1" fontAlgn="base" hangingPunct="1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40"/>
          <p:cNvSpPr>
            <a:spLocks noChangeArrowheads="1"/>
          </p:cNvSpPr>
          <p:nvPr userDrawn="1"/>
        </p:nvSpPr>
        <p:spPr bwMode="auto">
          <a:xfrm>
            <a:off x="0" y="6316664"/>
            <a:ext cx="12192000" cy="5413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sz="180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5667" y="342900"/>
            <a:ext cx="11277600" cy="1074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3552" y="1490663"/>
            <a:ext cx="11281833" cy="444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2" name="Picture 41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0" y="6454776"/>
            <a:ext cx="1854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2717" y="6453189"/>
            <a:ext cx="751416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400" smtClean="0"/>
            </a:lvl1pPr>
          </a:lstStyle>
          <a:p>
            <a:pPr>
              <a:defRPr/>
            </a:pPr>
            <a:fld id="{D82B2A4C-45FC-42F3-81CF-89E08B1CFA2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F40424-2046-8B95-2B8B-8D12E8F40CD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338233" y="6522720"/>
            <a:ext cx="1600200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0073C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3558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 Black" pitchFamily="-110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rgbClr val="0790EC"/>
        </a:buClr>
        <a:buSzPct val="125000"/>
        <a:buFont typeface="Times" panose="02020603050405020304" pitchFamily="18" charset="0"/>
        <a:buChar char="•"/>
        <a:defRPr sz="24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627063" indent="-284163" algn="l" rtl="0" eaLnBrk="0" fontAlgn="base" hangingPunct="0">
        <a:spcBef>
          <a:spcPct val="50000"/>
        </a:spcBef>
        <a:spcAft>
          <a:spcPct val="0"/>
        </a:spcAft>
        <a:buClr>
          <a:srgbClr val="0790EC"/>
        </a:buClr>
        <a:buSzPct val="130000"/>
        <a:buFont typeface="Times" panose="02020603050405020304" pitchFamily="18" charset="0"/>
        <a:buChar char="–"/>
        <a:defRPr sz="2000"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2pPr>
      <a:lvl3pPr marL="914400" indent="-173038" algn="l" rtl="0" eaLnBrk="0" fontAlgn="base" hangingPunct="0">
        <a:spcBef>
          <a:spcPct val="50000"/>
        </a:spcBef>
        <a:spcAft>
          <a:spcPct val="0"/>
        </a:spcAft>
        <a:buClr>
          <a:srgbClr val="0790EC"/>
        </a:buClr>
        <a:buSzPct val="110000"/>
        <a:buFont typeface="Times" panose="02020603050405020304" pitchFamily="18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3pPr>
      <a:lvl4pPr marL="1262063" indent="-233363" algn="l" rtl="0" eaLnBrk="0" fontAlgn="base" hangingPunct="0">
        <a:spcBef>
          <a:spcPct val="50000"/>
        </a:spcBef>
        <a:spcAft>
          <a:spcPct val="0"/>
        </a:spcAft>
        <a:buClr>
          <a:srgbClr val="0790EC"/>
        </a:buClr>
        <a:buSzPct val="110000"/>
        <a:buFont typeface="Times" panose="02020603050405020304" pitchFamily="18" charset="0"/>
        <a:buChar char="–"/>
        <a:defRPr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4pPr>
      <a:lvl5pPr marL="1541463" indent="-165100" algn="l" rtl="0" eaLnBrk="0" fontAlgn="base" hangingPunct="0">
        <a:spcBef>
          <a:spcPct val="50000"/>
        </a:spcBef>
        <a:spcAft>
          <a:spcPct val="0"/>
        </a:spcAft>
        <a:buClr>
          <a:srgbClr val="0790EC"/>
        </a:buClr>
        <a:buFont typeface="Times" panose="02020603050405020304" pitchFamily="18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  <a:cs typeface="ＭＳ Ｐゴシック" charset="0"/>
        </a:defRPr>
      </a:lvl5pPr>
      <a:lvl6pPr marL="1998663" indent="-165100" algn="l" rtl="0" fontAlgn="base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6pPr>
      <a:lvl7pPr marL="2455863" indent="-165100" algn="l" rtl="0" fontAlgn="base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7pPr>
      <a:lvl8pPr marL="2913063" indent="-165100" algn="l" rtl="0" fontAlgn="base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8pPr>
      <a:lvl9pPr marL="3370263" indent="-165100" algn="l" rtl="0" fontAlgn="base">
        <a:spcBef>
          <a:spcPct val="50000"/>
        </a:spcBef>
        <a:spcAft>
          <a:spcPct val="0"/>
        </a:spcAft>
        <a:buClr>
          <a:srgbClr val="0790EC"/>
        </a:buClr>
        <a:buFont typeface="Times" pitchFamily="-110" charset="0"/>
        <a:buChar char="•"/>
        <a:defRPr>
          <a:solidFill>
            <a:schemeClr val="tx1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1384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DB7CF19-4D58-4C6B-FC5A-8CA21E731A2B}"/>
              </a:ext>
            </a:extLst>
          </p:cNvPr>
          <p:cNvGrpSpPr>
            <a:grpSpLocks/>
          </p:cNvGrpSpPr>
          <p:nvPr/>
        </p:nvGrpSpPr>
        <p:grpSpPr>
          <a:xfrm>
            <a:off x="435430" y="191590"/>
            <a:ext cx="10972799" cy="5947953"/>
            <a:chOff x="0" y="0"/>
            <a:chExt cx="10972800" cy="8229600"/>
          </a:xfrm>
        </p:grpSpPr>
        <p:pic>
          <p:nvPicPr>
            <p:cNvPr id="5" name="Image 406">
              <a:extLst>
                <a:ext uri="{FF2B5EF4-FFF2-40B4-BE49-F238E27FC236}">
                  <a16:creationId xmlns:a16="http://schemas.microsoft.com/office/drawing/2014/main" id="{29E0A752-0312-FC6E-D7D0-A5695A37D1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0972800" cy="8229600"/>
            </a:xfrm>
            <a:prstGeom prst="rect">
              <a:avLst/>
            </a:prstGeom>
          </p:spPr>
        </p:pic>
        <p:pic>
          <p:nvPicPr>
            <p:cNvPr id="6" name="Image 407">
              <a:extLst>
                <a:ext uri="{FF2B5EF4-FFF2-40B4-BE49-F238E27FC236}">
                  <a16:creationId xmlns:a16="http://schemas.microsoft.com/office/drawing/2014/main" id="{C7A28A17-7223-4CBD-4E9D-6125594F922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316580"/>
              <a:ext cx="10959686" cy="79130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200589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50005F-0D3B-A63F-86E3-35E8E4797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623CCA9-BCC7-1F8B-F6C6-63568C756CFF}"/>
              </a:ext>
            </a:extLst>
          </p:cNvPr>
          <p:cNvSpPr txBox="1">
            <a:spLocks/>
          </p:cNvSpPr>
          <p:nvPr/>
        </p:nvSpPr>
        <p:spPr>
          <a:xfrm>
            <a:off x="1444625" y="2752353"/>
            <a:ext cx="6423825" cy="76944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Questions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6F9D76-9B19-607D-8B51-991707A73133}"/>
              </a:ext>
            </a:extLst>
          </p:cNvPr>
          <p:cNvCxnSpPr>
            <a:cxnSpLocks/>
          </p:cNvCxnSpPr>
          <p:nvPr/>
        </p:nvCxnSpPr>
        <p:spPr>
          <a:xfrm>
            <a:off x="1585377" y="3684532"/>
            <a:ext cx="694804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0B1E95A-4D2E-86FD-BB58-28EB7EC6845B}"/>
              </a:ext>
            </a:extLst>
          </p:cNvPr>
          <p:cNvSpPr txBox="1"/>
          <p:nvPr/>
        </p:nvSpPr>
        <p:spPr>
          <a:xfrm>
            <a:off x="2911366" y="3836276"/>
            <a:ext cx="5423338" cy="2616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/>
              <a:t>Contact Information:</a:t>
            </a:r>
          </a:p>
          <a:p>
            <a:endParaRPr lang="en-US" sz="800"/>
          </a:p>
          <a:p>
            <a:r>
              <a:rPr lang="en-US" sz="2000"/>
              <a:t>Jeffrey Laufer</a:t>
            </a:r>
            <a:endParaRPr lang="en-US" sz="2000">
              <a:cs typeface="Arial"/>
            </a:endParaRPr>
          </a:p>
          <a:p>
            <a:r>
              <a:rPr lang="en-US" sz="2000"/>
              <a:t>Corporate Affairs Manager</a:t>
            </a:r>
            <a:endParaRPr lang="en-US" sz="2000">
              <a:cs typeface="Arial"/>
            </a:endParaRPr>
          </a:p>
          <a:p>
            <a:r>
              <a:rPr lang="en-US" sz="2000"/>
              <a:t>Bronx Regional &amp; Community Affairs</a:t>
            </a:r>
            <a:endParaRPr lang="en-US" sz="2000">
              <a:cs typeface="Arial"/>
            </a:endParaRPr>
          </a:p>
          <a:p>
            <a:r>
              <a:rPr lang="en-US" sz="2000"/>
              <a:t>E-Mails - LauferJ@Coned.com BronxRCA@coned.com</a:t>
            </a:r>
            <a:endParaRPr lang="en-US" sz="2000">
              <a:cs typeface="Arial"/>
            </a:endParaRP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98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280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196BC13-9382-3DC9-FB00-F257951332EB}"/>
              </a:ext>
            </a:extLst>
          </p:cNvPr>
          <p:cNvSpPr txBox="1">
            <a:spLocks/>
          </p:cNvSpPr>
          <p:nvPr/>
        </p:nvSpPr>
        <p:spPr>
          <a:xfrm>
            <a:off x="1444624" y="2752353"/>
            <a:ext cx="7463705" cy="769441"/>
          </a:xfrm>
          <a:prstGeom prst="rect">
            <a:avLst/>
          </a:prstGeom>
        </p:spPr>
        <p:txBody>
          <a:bodyPr wrap="square" lIns="91440" tIns="45720" rIns="91440" bIns="4572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cs typeface="Arial"/>
              </a:rPr>
              <a:t>Upcoming District Project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374D5BE-3E9D-F8C2-5FAB-565EAB687956}"/>
              </a:ext>
            </a:extLst>
          </p:cNvPr>
          <p:cNvCxnSpPr>
            <a:cxnSpLocks/>
          </p:cNvCxnSpPr>
          <p:nvPr/>
        </p:nvCxnSpPr>
        <p:spPr>
          <a:xfrm>
            <a:off x="1585377" y="3684532"/>
            <a:ext cx="694804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72F77D6-44FE-A059-3E7D-7BACE4ECE2DA}"/>
              </a:ext>
            </a:extLst>
          </p:cNvPr>
          <p:cNvSpPr txBox="1">
            <a:spLocks/>
          </p:cNvSpPr>
          <p:nvPr/>
        </p:nvSpPr>
        <p:spPr>
          <a:xfrm>
            <a:off x="1444625" y="3847271"/>
            <a:ext cx="5623687" cy="15001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solidFill>
                  <a:schemeClr val="tx1"/>
                </a:solidFill>
              </a:rPr>
              <a:t>Community Board # 8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80461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8B3DD-450F-7F25-BDCA-51EB54522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667" y="342900"/>
            <a:ext cx="11277600" cy="1074738"/>
          </a:xfrm>
        </p:spPr>
        <p:txBody>
          <a:bodyPr wrap="square" anchor="t"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F154E3-3848-D654-C764-FFCB6D6991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552" y="1490663"/>
            <a:ext cx="11281833" cy="4449762"/>
          </a:xfrm>
        </p:spPr>
        <p:txBody>
          <a:bodyPr wrap="square" anchor="t">
            <a:normAutofit/>
          </a:bodyPr>
          <a:lstStyle/>
          <a:p>
            <a:pPr lvl="1" indent="0">
              <a:spcBef>
                <a:spcPts val="0"/>
              </a:spcBef>
              <a:spcAft>
                <a:spcPts val="600"/>
              </a:spcAft>
              <a:buSzPct val="100000"/>
              <a:buNone/>
              <a:tabLst>
                <a:tab pos="171496" algn="l"/>
              </a:tabLst>
            </a:pPr>
            <a:r>
              <a:rPr lang="en-US" sz="2400" b="1" spc="38"/>
              <a:t>Jeffrey A. Laufer, </a:t>
            </a:r>
            <a:r>
              <a:rPr lang="en-US" sz="2400" i="1" spc="38"/>
              <a:t>Corporate Affairs Manager, BX Regional &amp; Community Affairs</a:t>
            </a:r>
          </a:p>
          <a:p>
            <a:pPr lvl="1" indent="0">
              <a:spcBef>
                <a:spcPts val="0"/>
              </a:spcBef>
              <a:spcAft>
                <a:spcPts val="600"/>
              </a:spcAft>
              <a:buSzPct val="100000"/>
              <a:buNone/>
              <a:tabLst>
                <a:tab pos="171496" algn="l"/>
              </a:tabLst>
            </a:pPr>
            <a:endParaRPr lang="en-US" sz="2400" spc="38"/>
          </a:p>
          <a:p>
            <a:pPr marL="942975" lvl="2" indent="-257175">
              <a:spcBef>
                <a:spcPts val="0"/>
              </a:spcBef>
              <a:spcAft>
                <a:spcPts val="600"/>
              </a:spcAft>
              <a:buSzPct val="100000"/>
              <a:buFont typeface="Symbol" panose="05050102010706020507" pitchFamily="18" charset="2"/>
              <a:buChar char=""/>
              <a:tabLst>
                <a:tab pos="171496" algn="l"/>
              </a:tabLst>
            </a:pPr>
            <a:r>
              <a:rPr lang="en-US" spc="38"/>
              <a:t>Gas Main Replacement Work </a:t>
            </a:r>
          </a:p>
          <a:p>
            <a:pPr>
              <a:spcBef>
                <a:spcPts val="0"/>
              </a:spcBef>
              <a:spcAft>
                <a:spcPts val="600"/>
              </a:spcAft>
              <a:buSzPct val="100000"/>
              <a:tabLst>
                <a:tab pos="171496" algn="l"/>
              </a:tabLst>
            </a:pPr>
            <a:endParaRPr lang="en-US" b="1" i="1" spc="38"/>
          </a:p>
          <a:p>
            <a:pPr marL="942975" lvl="2" indent="-257175">
              <a:spcBef>
                <a:spcPts val="0"/>
              </a:spcBef>
              <a:spcAft>
                <a:spcPts val="600"/>
              </a:spcAft>
              <a:buSzPct val="100000"/>
              <a:buFont typeface="Symbol" panose="05050102010706020507" pitchFamily="18" charset="2"/>
              <a:buChar char=""/>
              <a:tabLst>
                <a:tab pos="171496" algn="l"/>
              </a:tabLst>
            </a:pPr>
            <a:r>
              <a:rPr lang="en-US" spc="38"/>
              <a:t>Upcoming NYC Department of Design &amp; Construction Project </a:t>
            </a:r>
            <a:endParaRPr lang="en-US" i="1" spc="38"/>
          </a:p>
          <a:p>
            <a:pPr marL="257175" indent="-257175">
              <a:spcBef>
                <a:spcPts val="0"/>
              </a:spcBef>
              <a:spcAft>
                <a:spcPts val="600"/>
              </a:spcAft>
              <a:buSzPct val="100000"/>
              <a:buFont typeface="Symbol" panose="05050102010706020507" pitchFamily="18" charset="2"/>
              <a:buChar char=""/>
              <a:tabLst>
                <a:tab pos="171496" algn="l"/>
              </a:tabLst>
            </a:pPr>
            <a:endParaRPr lang="en-US"/>
          </a:p>
          <a:p>
            <a:pPr marL="257175" indent="-257175">
              <a:spcBef>
                <a:spcPts val="0"/>
              </a:spcBef>
              <a:spcAft>
                <a:spcPts val="600"/>
              </a:spcAft>
              <a:buSzPct val="100000"/>
              <a:buFont typeface="Symbol" panose="05050102010706020507" pitchFamily="18" charset="2"/>
              <a:buChar char=""/>
              <a:tabLst>
                <a:tab pos="171496" algn="l"/>
              </a:tabLst>
            </a:pPr>
            <a:endParaRPr lang="en-US" spc="38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A6F4A7EE-C392-4840-3F5D-BBBD2A6BB7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33067DF8-A32D-40FB-AF72-2C51664AC259}" type="slidenum">
              <a:rPr lang="en-US" altLang="en-US"/>
              <a:pPr>
                <a:spcAft>
                  <a:spcPts val="600"/>
                </a:spcAft>
                <a:defRPr/>
              </a:pPr>
              <a:t>3</a:t>
            </a:fld>
            <a:endParaRPr lang="en-US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367970-145A-1979-0149-B8F2815A3523}"/>
              </a:ext>
            </a:extLst>
          </p:cNvPr>
          <p:cNvSpPr txBox="1"/>
          <p:nvPr/>
        </p:nvSpPr>
        <p:spPr>
          <a:xfrm>
            <a:off x="4991878" y="6488668"/>
            <a:ext cx="1707502" cy="369332"/>
          </a:xfrm>
          <a:prstGeom prst="rect">
            <a:avLst/>
          </a:prstGeom>
          <a:solidFill>
            <a:srgbClr val="BFBFBF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46796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3FE2A-835D-BBFA-83DA-C9C4D987E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667" y="342900"/>
            <a:ext cx="11277600" cy="1074738"/>
          </a:xfrm>
        </p:spPr>
        <p:txBody>
          <a:bodyPr wrap="square" anchor="t">
            <a:normAutofit/>
          </a:bodyPr>
          <a:lstStyle/>
          <a:p>
            <a:r>
              <a:rPr lang="en-US"/>
              <a:t>Upcoming Gas Main Replacement Work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71B8A2E-AEF4-D68A-0537-B05D338BED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  <a:defRPr/>
            </a:pPr>
            <a:fld id="{33067DF8-A32D-40FB-AF72-2C51664AC259}" type="slidenum">
              <a:rPr lang="en-US" altLang="en-US"/>
              <a:pPr>
                <a:spcAft>
                  <a:spcPts val="600"/>
                </a:spcAft>
                <a:defRPr/>
              </a:pPr>
              <a:t>4</a:t>
            </a:fld>
            <a:endParaRPr lang="en-US" altLang="en-US"/>
          </a:p>
        </p:txBody>
      </p:sp>
      <p:graphicFrame>
        <p:nvGraphicFramePr>
          <p:cNvPr id="10" name="Subtitle 2">
            <a:extLst>
              <a:ext uri="{FF2B5EF4-FFF2-40B4-BE49-F238E27FC236}">
                <a16:creationId xmlns:a16="http://schemas.microsoft.com/office/drawing/2014/main" id="{3B8C2B6F-2076-CFC9-5536-32C13FD368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8590446"/>
              </p:ext>
            </p:extLst>
          </p:nvPr>
        </p:nvGraphicFramePr>
        <p:xfrm>
          <a:off x="463552" y="1490663"/>
          <a:ext cx="11281833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0759208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08B0BE4-983A-E725-706C-1394C56CA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667" y="342900"/>
            <a:ext cx="11277600" cy="1074738"/>
          </a:xfrm>
        </p:spPr>
        <p:txBody>
          <a:bodyPr wrap="square" anchor="t">
            <a:normAutofit/>
          </a:bodyPr>
          <a:lstStyle/>
          <a:p>
            <a:r>
              <a:rPr lang="en-US"/>
              <a:t>Work Notification </a:t>
            </a: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54C15CF-FD19-750D-1385-5E97E33B7C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9109"/>
          <a:stretch>
            <a:fillRect/>
          </a:stretch>
        </p:blipFill>
        <p:spPr>
          <a:xfrm>
            <a:off x="818606" y="1085134"/>
            <a:ext cx="3852785" cy="5106660"/>
          </a:xfrm>
          <a:prstGeom prst="rect">
            <a:avLst/>
          </a:prstGeom>
          <a:noFill/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3365FBCB-9E01-724C-9933-A912725A03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  <a:defRPr/>
            </a:pPr>
            <a:fld id="{33067DF8-A32D-40FB-AF72-2C51664AC259}" type="slidenum">
              <a:rPr lang="en-US" altLang="en-US"/>
              <a:pPr>
                <a:spcAft>
                  <a:spcPts val="600"/>
                </a:spcAft>
                <a:defRPr/>
              </a:pPr>
              <a:t>5</a:t>
            </a:fld>
            <a:endParaRPr lang="en-US" altLang="en-US"/>
          </a:p>
        </p:txBody>
      </p:sp>
      <p:pic>
        <p:nvPicPr>
          <p:cNvPr id="5" name="Content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9F04D4C-97BE-E2C3-E8C7-F79F059938E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820" t="52317" r="8360" b="10890"/>
          <a:stretch>
            <a:fillRect/>
          </a:stretch>
        </p:blipFill>
        <p:spPr>
          <a:xfrm>
            <a:off x="5632173" y="984258"/>
            <a:ext cx="5658677" cy="3763617"/>
          </a:xfrm>
          <a:prstGeom prst="rect">
            <a:avLst/>
          </a:prstGeom>
        </p:spPr>
      </p:pic>
      <p:pic>
        <p:nvPicPr>
          <p:cNvPr id="12" name="Graphic 11" descr="Zoom in with solid fill">
            <a:extLst>
              <a:ext uri="{FF2B5EF4-FFF2-40B4-BE49-F238E27FC236}">
                <a16:creationId xmlns:a16="http://schemas.microsoft.com/office/drawing/2014/main" id="{25C684CC-0B0D-F6B1-8BD6-6BE8B046F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9763" y="417140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0138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848E2-3BEE-F36C-AE7A-53AF86F7A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667" y="342900"/>
            <a:ext cx="11277600" cy="1074738"/>
          </a:xfrm>
        </p:spPr>
        <p:txBody>
          <a:bodyPr wrap="square" anchor="t">
            <a:normAutofit/>
          </a:bodyPr>
          <a:lstStyle/>
          <a:p>
            <a:r>
              <a:rPr lang="en-US" sz="2400" spc="38"/>
              <a:t>Upcoming NYC Department of Design &amp; Construction Project </a:t>
            </a:r>
            <a:br>
              <a:rPr lang="en-US" sz="2400" i="1" spc="38"/>
            </a:br>
            <a:endParaRPr lang="en-US" sz="240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2B680E2-6333-2A1B-9F2A-D8191702E5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  <a:defRPr/>
            </a:pPr>
            <a:fld id="{33067DF8-A32D-40FB-AF72-2C51664AC259}" type="slidenum">
              <a:rPr lang="en-US" altLang="en-US"/>
              <a:pPr>
                <a:spcAft>
                  <a:spcPts val="600"/>
                </a:spcAft>
                <a:defRPr/>
              </a:pPr>
              <a:t>6</a:t>
            </a:fld>
            <a:endParaRPr lang="en-US" altLang="en-US"/>
          </a:p>
        </p:txBody>
      </p:sp>
      <p:graphicFrame>
        <p:nvGraphicFramePr>
          <p:cNvPr id="16" name="Subtitle 2">
            <a:extLst>
              <a:ext uri="{FF2B5EF4-FFF2-40B4-BE49-F238E27FC236}">
                <a16:creationId xmlns:a16="http://schemas.microsoft.com/office/drawing/2014/main" id="{C4D0223B-6239-D9F7-1BEA-F5579D4D307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9618854"/>
              </p:ext>
            </p:extLst>
          </p:nvPr>
        </p:nvGraphicFramePr>
        <p:xfrm>
          <a:off x="463552" y="1490663"/>
          <a:ext cx="11281833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669084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401">
            <a:extLst>
              <a:ext uri="{FF2B5EF4-FFF2-40B4-BE49-F238E27FC236}">
                <a16:creationId xmlns:a16="http://schemas.microsoft.com/office/drawing/2014/main" id="{3D6283A8-4861-A4AE-5123-4BFDA3B08900}"/>
              </a:ext>
            </a:extLst>
          </p:cNvPr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51889" y="68263"/>
            <a:ext cx="9888221" cy="6180137"/>
          </a:xfrm>
          <a:prstGeom prst="rect">
            <a:avLst/>
          </a:prstGeom>
          <a:noFill/>
        </p:spPr>
      </p:pic>
      <p:sp>
        <p:nvSpPr>
          <p:cNvPr id="8" name="Slide Number Placeholder 1" hidden="1">
            <a:extLst>
              <a:ext uri="{FF2B5EF4-FFF2-40B4-BE49-F238E27FC236}">
                <a16:creationId xmlns:a16="http://schemas.microsoft.com/office/drawing/2014/main" id="{4B8BD0C2-E3F0-2D7E-117E-741EB241E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52717" y="6453189"/>
            <a:ext cx="751416" cy="36353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5AF4AE1D-1174-4CF7-931F-3C7E6D5FB576}" type="slidenum">
              <a:rPr lang="en-US" altLang="en-US"/>
              <a:pPr>
                <a:spcAft>
                  <a:spcPts val="600"/>
                </a:spcAft>
                <a:defRPr/>
              </a:pPr>
              <a:t>7</a:t>
            </a:fld>
            <a:endParaRPr lang="en-US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128E28-174D-BD41-52A9-436833EF0AA9}"/>
              </a:ext>
            </a:extLst>
          </p:cNvPr>
          <p:cNvSpPr txBox="1"/>
          <p:nvPr/>
        </p:nvSpPr>
        <p:spPr>
          <a:xfrm>
            <a:off x="-92675" y="5596066"/>
            <a:ext cx="5519352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6355"/>
            <a:r>
              <a:rPr lang="en-US" sz="1400" b="1" spc="-10">
                <a:ea typeface="Minion Pro"/>
                <a:cs typeface="Minion Pro"/>
              </a:rPr>
              <a:t>W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254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ST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BETWEEN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RAILROAD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TERRACE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&amp;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10">
                <a:ea typeface="Minion Pro"/>
                <a:cs typeface="Minion Pro"/>
              </a:rPr>
              <a:t>RIVERDALE</a:t>
            </a:r>
            <a:r>
              <a:rPr lang="en-US" sz="1400" b="1" spc="-45">
                <a:ea typeface="Minion Pro"/>
                <a:cs typeface="Minion Pro"/>
              </a:rPr>
              <a:t> </a:t>
            </a:r>
            <a:r>
              <a:rPr lang="en-US" sz="1400" b="1" spc="-25">
                <a:ea typeface="Minion Pro"/>
                <a:cs typeface="Minion Pro"/>
              </a:rPr>
              <a:t>AVE</a:t>
            </a:r>
          </a:p>
          <a:p>
            <a:pPr indent="-202565"/>
            <a:r>
              <a:rPr lang="en-US" sz="1400" b="1" spc="-20"/>
              <a:t>DISTANCE:</a:t>
            </a:r>
            <a:r>
              <a:rPr lang="en-US" sz="1400" b="1" spc="-10"/>
              <a:t> </a:t>
            </a:r>
            <a:r>
              <a:rPr lang="en-US" sz="1400" b="1" spc="-20"/>
              <a:t>2500 FT</a:t>
            </a:r>
            <a:r>
              <a:rPr lang="en-US" sz="1400" b="1" spc="-5"/>
              <a:t> </a:t>
            </a:r>
            <a:r>
              <a:rPr lang="en-US" sz="1400" b="1" spc="-20"/>
              <a:t>(7</a:t>
            </a:r>
            <a:r>
              <a:rPr lang="en-US" sz="1400" b="1" spc="-5"/>
              <a:t> </a:t>
            </a:r>
            <a:r>
              <a:rPr lang="en-US" sz="1400" b="1" spc="-20"/>
              <a:t>BLOCKS)</a:t>
            </a:r>
            <a:endParaRPr lang="en-US" sz="1400" b="1" spc="-20">
              <a:cs typeface="Arial"/>
            </a:endParaRPr>
          </a:p>
          <a:p>
            <a:pPr indent="-202565"/>
            <a:r>
              <a:rPr lang="en-US" sz="1400" b="1" spc="-10"/>
              <a:t>NUMBER</a:t>
            </a:r>
            <a:r>
              <a:rPr lang="en-US" sz="1400" b="1" spc="-50"/>
              <a:t> </a:t>
            </a:r>
            <a:r>
              <a:rPr lang="en-US" sz="1400" b="1" spc="-10"/>
              <a:t>OF</a:t>
            </a:r>
            <a:r>
              <a:rPr lang="en-US" sz="1400" b="1" spc="-50"/>
              <a:t> </a:t>
            </a:r>
            <a:r>
              <a:rPr lang="en-US" sz="1400" b="1" spc="-10"/>
              <a:t>POLES:</a:t>
            </a:r>
            <a:r>
              <a:rPr lang="en-US" sz="1400" b="1" spc="-50"/>
              <a:t> </a:t>
            </a:r>
            <a:r>
              <a:rPr lang="en-US" sz="1400" b="1" spc="-25"/>
              <a:t>25</a:t>
            </a:r>
            <a:endParaRPr lang="en-US" sz="1400" b="1" spc="-25">
              <a:cs typeface="Arial"/>
            </a:endParaRPr>
          </a:p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71368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403">
            <a:extLst>
              <a:ext uri="{FF2B5EF4-FFF2-40B4-BE49-F238E27FC236}">
                <a16:creationId xmlns:a16="http://schemas.microsoft.com/office/drawing/2014/main" id="{44D40626-5C5F-62C8-539A-DEF7AF375CF3}"/>
              </a:ext>
            </a:extLst>
          </p:cNvPr>
          <p:cNvPicPr>
            <a:picLocks/>
          </p:cNvPicPr>
          <p:nvPr/>
        </p:nvPicPr>
        <p:blipFill>
          <a:blip r:embed="rId2" cstate="print"/>
          <a:srcRect t="1963" r="-1" b="23895"/>
          <a:stretch>
            <a:fillRect/>
          </a:stretch>
        </p:blipFill>
        <p:spPr>
          <a:xfrm>
            <a:off x="120650" y="68263"/>
            <a:ext cx="11114088" cy="6180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3429389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404">
            <a:extLst>
              <a:ext uri="{FF2B5EF4-FFF2-40B4-BE49-F238E27FC236}">
                <a16:creationId xmlns:a16="http://schemas.microsoft.com/office/drawing/2014/main" id="{F246C671-3EBD-64AC-0C58-AEC2A506EEDF}"/>
              </a:ext>
            </a:extLst>
          </p:cNvPr>
          <p:cNvPicPr>
            <a:picLocks/>
          </p:cNvPicPr>
          <p:nvPr/>
        </p:nvPicPr>
        <p:blipFill>
          <a:blip r:embed="rId2" cstate="print"/>
          <a:srcRect t="989" r="-1" b="24868"/>
          <a:stretch>
            <a:fillRect/>
          </a:stretch>
        </p:blipFill>
        <p:spPr>
          <a:xfrm>
            <a:off x="120650" y="68263"/>
            <a:ext cx="11114088" cy="6180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355062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yOzTXADj64JZe9POy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JEKlXrqVo8VqgVZM.t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Vt0TZo3cxA.Jc4dfAf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XMLvrCDdlD8zJeht7r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OZmCypChXXi1RPWDPj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heme/theme1.xml><?xml version="1.0" encoding="utf-8"?>
<a:theme xmlns:a="http://schemas.openxmlformats.org/drawingml/2006/main" name="Master Slide">
  <a:themeElements>
    <a:clrScheme name="Custom 1">
      <a:dk1>
        <a:srgbClr val="2A2A2A"/>
      </a:dk1>
      <a:lt1>
        <a:srgbClr val="FFFFFF"/>
      </a:lt1>
      <a:dk2>
        <a:srgbClr val="0078CF"/>
      </a:dk2>
      <a:lt2>
        <a:srgbClr val="FFFFFF"/>
      </a:lt2>
      <a:accent1>
        <a:srgbClr val="069BD7"/>
      </a:accent1>
      <a:accent2>
        <a:srgbClr val="660099"/>
      </a:accent2>
      <a:accent3>
        <a:srgbClr val="00882B"/>
      </a:accent3>
      <a:accent4>
        <a:srgbClr val="E6E6E6"/>
      </a:accent4>
      <a:accent5>
        <a:srgbClr val="89CDAA"/>
      </a:accent5>
      <a:accent6>
        <a:srgbClr val="C6EAF2"/>
      </a:accent6>
      <a:hlink>
        <a:srgbClr val="069BD7"/>
      </a:hlink>
      <a:folHlink>
        <a:srgbClr val="069BD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Information Exchange template v3">
  <a:themeElements>
    <a:clrScheme name="Custom 6">
      <a:dk1>
        <a:sysClr val="windowText" lastClr="000000"/>
      </a:dk1>
      <a:lt1>
        <a:sysClr val="window" lastClr="FFFFFF"/>
      </a:lt1>
      <a:dk2>
        <a:srgbClr val="069BD7"/>
      </a:dk2>
      <a:lt2>
        <a:srgbClr val="F0F5F9"/>
      </a:lt2>
      <a:accent1>
        <a:srgbClr val="0581C1"/>
      </a:accent1>
      <a:accent2>
        <a:srgbClr val="069BD7"/>
      </a:accent2>
      <a:accent3>
        <a:srgbClr val="2A2A2A"/>
      </a:accent3>
      <a:accent4>
        <a:srgbClr val="DBDBDB"/>
      </a:accent4>
      <a:accent5>
        <a:srgbClr val="C6EAF2"/>
      </a:accent5>
      <a:accent6>
        <a:srgbClr val="F9EAA9"/>
      </a:accent6>
      <a:hlink>
        <a:srgbClr val="4CBFE6"/>
      </a:hlink>
      <a:folHlink>
        <a:srgbClr val="4CBFE6"/>
      </a:folHlink>
    </a:clrScheme>
    <a:fontScheme name="Default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Custom 6">
      <a:dk1>
        <a:srgbClr val="000000"/>
      </a:dk1>
      <a:lt1>
        <a:srgbClr val="FFFFFF"/>
      </a:lt1>
      <a:dk2>
        <a:srgbClr val="069BD7"/>
      </a:dk2>
      <a:lt2>
        <a:srgbClr val="4CBFE6"/>
      </a:lt2>
      <a:accent1>
        <a:srgbClr val="0581C1"/>
      </a:accent1>
      <a:accent2>
        <a:srgbClr val="89CDAA"/>
      </a:accent2>
      <a:accent3>
        <a:srgbClr val="C85050"/>
      </a:accent3>
      <a:accent4>
        <a:srgbClr val="FFFF99"/>
      </a:accent4>
      <a:accent5>
        <a:srgbClr val="EC5E5E"/>
      </a:accent5>
      <a:accent6>
        <a:srgbClr val="6AA383"/>
      </a:accent6>
      <a:hlink>
        <a:srgbClr val="0033CC"/>
      </a:hlink>
      <a:folHlink>
        <a:srgbClr val="7A34AE"/>
      </a:folHlink>
    </a:clrScheme>
    <a:fontScheme name="Default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75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3707045-7372-4e44-8c93-930bea091d1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DDA323D315584CB37E30C3CBB2EBC2" ma:contentTypeVersion="15" ma:contentTypeDescription="Create a new document." ma:contentTypeScope="" ma:versionID="b4a169100e41247cd057ee12c673a103">
  <xsd:schema xmlns:xsd="http://www.w3.org/2001/XMLSchema" xmlns:xs="http://www.w3.org/2001/XMLSchema" xmlns:p="http://schemas.microsoft.com/office/2006/metadata/properties" xmlns:ns3="e3707045-7372-4e44-8c93-930bea091d16" xmlns:ns4="3c9e5714-a0e1-42f4-a179-dfcd1cf8190e" targetNamespace="http://schemas.microsoft.com/office/2006/metadata/properties" ma:root="true" ma:fieldsID="44f2b8b7f1020ad009110bfaa1a14a18" ns3:_="" ns4:_="">
    <xsd:import namespace="e3707045-7372-4e44-8c93-930bea091d16"/>
    <xsd:import namespace="3c9e5714-a0e1-42f4-a179-dfcd1cf8190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ystemTag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07045-7372-4e44-8c93-930bea091d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ystemTags" ma:index="20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9e5714-a0e1-42f4-a179-dfcd1cf8190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327445-7BA5-401F-B974-FD6DB43C728F}">
  <ds:schemaRefs>
    <ds:schemaRef ds:uri="3c9e5714-a0e1-42f4-a179-dfcd1cf8190e"/>
    <ds:schemaRef ds:uri="e3707045-7372-4e44-8c93-930bea091d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5B1CF30-2061-4D30-BEE1-DB89967282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BCE338-D8BD-4B43-B187-1211B5443D19}">
  <ds:schemaRefs>
    <ds:schemaRef ds:uri="3c9e5714-a0e1-42f4-a179-dfcd1cf8190e"/>
    <ds:schemaRef ds:uri="e3707045-7372-4e44-8c93-930bea091d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2</Slides>
  <Notes>3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Master Slide</vt:lpstr>
      <vt:lpstr>1_Information Exchange template v3</vt:lpstr>
      <vt:lpstr>1_Default Design</vt:lpstr>
      <vt:lpstr>Default Design</vt:lpstr>
      <vt:lpstr>PowerPoint Presentation</vt:lpstr>
      <vt:lpstr>PowerPoint Presentation</vt:lpstr>
      <vt:lpstr>Agenda</vt:lpstr>
      <vt:lpstr>Upcoming Gas Main Replacement Work</vt:lpstr>
      <vt:lpstr>Work Notification </vt:lpstr>
      <vt:lpstr>Upcoming NYC Department of Design &amp; Construction Project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, Joanne</dc:creator>
  <cp:revision>1</cp:revision>
  <dcterms:created xsi:type="dcterms:W3CDTF">2024-12-26T19:51:49Z</dcterms:created>
  <dcterms:modified xsi:type="dcterms:W3CDTF">2026-01-15T18:5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DDA323D315584CB37E30C3CBB2EBC2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Master Slide:4</vt:lpwstr>
  </property>
  <property fmtid="{D5CDD505-2E9C-101B-9397-08002B2CF9AE}" pid="5" name="ClassificationContentMarkingFooterText">
    <vt:lpwstr>INTERNAL</vt:lpwstr>
  </property>
  <property fmtid="{D5CDD505-2E9C-101B-9397-08002B2CF9AE}" pid="6" name="MSIP_Label_c80150e9-b158-425e-97d7-738cc28226d7_Enabled">
    <vt:lpwstr>true</vt:lpwstr>
  </property>
  <property fmtid="{D5CDD505-2E9C-101B-9397-08002B2CF9AE}" pid="7" name="MSIP_Label_c80150e9-b158-425e-97d7-738cc28226d7_SetDate">
    <vt:lpwstr>2025-08-05T18:56:43Z</vt:lpwstr>
  </property>
  <property fmtid="{D5CDD505-2E9C-101B-9397-08002B2CF9AE}" pid="8" name="MSIP_Label_c80150e9-b158-425e-97d7-738cc28226d7_Method">
    <vt:lpwstr>Privileged</vt:lpwstr>
  </property>
  <property fmtid="{D5CDD505-2E9C-101B-9397-08002B2CF9AE}" pid="9" name="MSIP_Label_c80150e9-b158-425e-97d7-738cc28226d7_Name">
    <vt:lpwstr>Internal - Privacy</vt:lpwstr>
  </property>
  <property fmtid="{D5CDD505-2E9C-101B-9397-08002B2CF9AE}" pid="10" name="MSIP_Label_c80150e9-b158-425e-97d7-738cc28226d7_SiteId">
    <vt:lpwstr>e9aef9b7-25ca-4518-a881-33e546773136</vt:lpwstr>
  </property>
  <property fmtid="{D5CDD505-2E9C-101B-9397-08002B2CF9AE}" pid="11" name="MSIP_Label_c80150e9-b158-425e-97d7-738cc28226d7_ActionId">
    <vt:lpwstr>382350b0-e58e-46b9-b081-3f41bd99a21b</vt:lpwstr>
  </property>
  <property fmtid="{D5CDD505-2E9C-101B-9397-08002B2CF9AE}" pid="12" name="MSIP_Label_c80150e9-b158-425e-97d7-738cc28226d7_ContentBits">
    <vt:lpwstr>2</vt:lpwstr>
  </property>
  <property fmtid="{D5CDD505-2E9C-101B-9397-08002B2CF9AE}" pid="13" name="MSIP_Label_c80150e9-b158-425e-97d7-738cc28226d7_Tag">
    <vt:lpwstr>50, 0, 1, 1</vt:lpwstr>
  </property>
</Properties>
</file>